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31.xml" ContentType="application/vnd.openxmlformats-officedocument.presentationml.tags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57"/>
  </p:notesMasterIdLst>
  <p:handoutMasterIdLst>
    <p:handoutMasterId r:id="rId58"/>
  </p:handoutMasterIdLst>
  <p:sldIdLst>
    <p:sldId id="321" r:id="rId4"/>
    <p:sldId id="330" r:id="rId5"/>
    <p:sldId id="290" r:id="rId6"/>
    <p:sldId id="331" r:id="rId7"/>
    <p:sldId id="294" r:id="rId8"/>
    <p:sldId id="2145705951" r:id="rId9"/>
    <p:sldId id="2145705925" r:id="rId10"/>
    <p:sldId id="2145705952" r:id="rId11"/>
    <p:sldId id="2145705988" r:id="rId12"/>
    <p:sldId id="2145706032" r:id="rId13"/>
    <p:sldId id="2145705989" r:id="rId14"/>
    <p:sldId id="2145706005" r:id="rId15"/>
    <p:sldId id="2145706006" r:id="rId16"/>
    <p:sldId id="2145705990" r:id="rId17"/>
    <p:sldId id="2145705991" r:id="rId18"/>
    <p:sldId id="2145706033" r:id="rId19"/>
    <p:sldId id="2145705978" r:id="rId20"/>
    <p:sldId id="2145706034" r:id="rId21"/>
    <p:sldId id="2145706036" r:id="rId22"/>
    <p:sldId id="2145706035" r:id="rId23"/>
    <p:sldId id="2145706037" r:id="rId24"/>
    <p:sldId id="2145706009" r:id="rId25"/>
    <p:sldId id="2145706038" r:id="rId26"/>
    <p:sldId id="2145706039" r:id="rId27"/>
    <p:sldId id="2145706041" r:id="rId28"/>
    <p:sldId id="2145706043" r:id="rId29"/>
    <p:sldId id="2145706042" r:id="rId30"/>
    <p:sldId id="2145706046" r:id="rId31"/>
    <p:sldId id="2145706045" r:id="rId32"/>
    <p:sldId id="2145706040" r:id="rId33"/>
    <p:sldId id="2145705998" r:id="rId34"/>
    <p:sldId id="2145706019" r:id="rId35"/>
    <p:sldId id="2145706007" r:id="rId36"/>
    <p:sldId id="2145706008" r:id="rId37"/>
    <p:sldId id="2145706011" r:id="rId38"/>
    <p:sldId id="2145706021" r:id="rId39"/>
    <p:sldId id="2145706012" r:id="rId40"/>
    <p:sldId id="2145706023" r:id="rId41"/>
    <p:sldId id="2145706028" r:id="rId42"/>
    <p:sldId id="2145706025" r:id="rId43"/>
    <p:sldId id="2145706027" r:id="rId44"/>
    <p:sldId id="2145706029" r:id="rId45"/>
    <p:sldId id="2145706031" r:id="rId46"/>
    <p:sldId id="2145706030" r:id="rId47"/>
    <p:sldId id="2145706013" r:id="rId48"/>
    <p:sldId id="2145706017" r:id="rId49"/>
    <p:sldId id="2145706018" r:id="rId50"/>
    <p:sldId id="2145706016" r:id="rId51"/>
    <p:sldId id="2145706014" r:id="rId52"/>
    <p:sldId id="2145706022" r:id="rId53"/>
    <p:sldId id="2145706024" r:id="rId54"/>
    <p:sldId id="2145706015" r:id="rId55"/>
    <p:sldId id="2145706004" r:id="rId56"/>
  </p:sldIdLst>
  <p:sldSz cx="12192000" cy="6858000"/>
  <p:notesSz cx="6858000" cy="9144000"/>
  <p:custDataLst>
    <p:tags r:id="rId5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2145705951"/>
            <p14:sldId id="2145705925"/>
            <p14:sldId id="2145705952"/>
            <p14:sldId id="2145705988"/>
            <p14:sldId id="2145706032"/>
            <p14:sldId id="2145705989"/>
            <p14:sldId id="2145706005"/>
            <p14:sldId id="2145706006"/>
            <p14:sldId id="2145705990"/>
            <p14:sldId id="2145705991"/>
            <p14:sldId id="2145706033"/>
            <p14:sldId id="2145705978"/>
            <p14:sldId id="2145706034"/>
            <p14:sldId id="2145706036"/>
            <p14:sldId id="2145706035"/>
            <p14:sldId id="2145706037"/>
            <p14:sldId id="2145706009"/>
            <p14:sldId id="2145706038"/>
            <p14:sldId id="2145706039"/>
            <p14:sldId id="2145706041"/>
            <p14:sldId id="2145706043"/>
            <p14:sldId id="2145706042"/>
            <p14:sldId id="2145706046"/>
            <p14:sldId id="2145706045"/>
            <p14:sldId id="2145706040"/>
            <p14:sldId id="2145705998"/>
            <p14:sldId id="2145706019"/>
            <p14:sldId id="2145706007"/>
            <p14:sldId id="2145706008"/>
            <p14:sldId id="2145706011"/>
            <p14:sldId id="2145706021"/>
            <p14:sldId id="2145706012"/>
            <p14:sldId id="2145706023"/>
            <p14:sldId id="2145706028"/>
            <p14:sldId id="2145706025"/>
            <p14:sldId id="2145706027"/>
            <p14:sldId id="2145706029"/>
            <p14:sldId id="2145706031"/>
            <p14:sldId id="2145706030"/>
            <p14:sldId id="2145706013"/>
            <p14:sldId id="2145706017"/>
            <p14:sldId id="2145706018"/>
            <p14:sldId id="2145706016"/>
            <p14:sldId id="2145706014"/>
            <p14:sldId id="2145706022"/>
            <p14:sldId id="2145706024"/>
            <p14:sldId id="2145706015"/>
            <p14:sldId id="214570600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A8E7"/>
    <a:srgbClr val="3366FF"/>
    <a:srgbClr val="CC071E"/>
    <a:srgbClr val="0CE6CF"/>
    <a:srgbClr val="00467F"/>
    <a:srgbClr val="F300D6"/>
    <a:srgbClr val="9A07CB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2299" autoAdjust="0"/>
  </p:normalViewPr>
  <p:slideViewPr>
    <p:cSldViewPr snapToGrid="0" snapToObjects="1" showGuides="1">
      <p:cViewPr>
        <p:scale>
          <a:sx n="100" d="100"/>
          <a:sy n="100" d="100"/>
        </p:scale>
        <p:origin x="996" y="180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tableStyles" Target="tableStyles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61" Type="http://schemas.openxmlformats.org/officeDocument/2006/relationships/viewProps" Target="viewProps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tags" Target="tags/tag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8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8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ADFE5D-810E-B7B7-5950-600A98440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C6FA25-CA38-D556-3F92-5BA45D84D8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FAC1F3A-A914-804C-5C7B-377EC3FB00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D86EEB-14A2-B922-0899-4805CA384E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778168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list types for select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Tit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istTypeDescripti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HeaderImag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Typ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Title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63600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32042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templates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Tit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HeaderImag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Sumary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. ProviderNam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Template l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Provider pr ON lt.ProviderId = pr.Id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lt.Title;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20627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ACB74-3AD0-0E34-F02F-3EABC5E34B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E32A95-6536-3193-DD80-0A9AD02D0A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5B40CB-1DA1-A424-8384-3FB42873FB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B1E967-2A97-6EA2-F357-FF1925B62E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162345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969594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B33A3A-6ACC-AB08-E680-1ABEE3F68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9F422A-7A7A-11A9-17A0-8F3CA8AE9B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4E641E-7494-F124-EB41-351045A7C4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534E0-16BB-81FB-FD50-ECA5C0B420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29416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3746D8-A98D-E58D-9049-DD11AE3E1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28D687-1A89-2E5F-24AF-3DB635F0B4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159022-9C4B-D2E4-03CC-97759A0ECF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heck access permiss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 EXISTS (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1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MemberPermiss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istId = @ListId AND AccountId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access: show list info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.Id AS List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CASE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WHEN l.CreatedBy = @UserId THEN 'My List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ELSE NUL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END AS Ownership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CASE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WHEN f.Id IS NOT NULL THEN 'Yes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ELSE 'No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END AS IsFavorit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'Has access' AS AccessStatu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EFT JOIN FavoriteList f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ON l.Id = f.ListId AND f.FavoriteListOfUser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.Id = @List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no access: return notic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List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Ownership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IsFavorit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'No access' AS AccessStatus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list views of the selected lis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heck if the user has acces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 EXISTS (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1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MemberPermission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istId = @ListId AND AccountId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access: show all views of the lis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List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View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DisplayOrd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View lv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v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lv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no acces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ListView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View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ViewTyp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DisplayOrde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IsDefaul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CreatedA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'No access to this list' AS AccessStatus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b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. Display visible Dynamic Column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IsVisib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DisplayOrd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DynamicColumn d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ystemDataType sd ON dc.SystemDataTypeId = sd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c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dc.IsVisible = 1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dc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462837-36F6-927C-2D26-2DB4538686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760864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C219F7-E2DD-C321-295C-84BBBC9F11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D80503-E601-0929-78FB-B6C64D79E4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8AE24E-F718-9012-D15E-DD5440E812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the cell values for each column of the specified list row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Row INT = 1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cv.CellValu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CellValue lcv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DynamicColumn ldc ON lcv.ListColumnId = ldc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Row lr ON lcv.ListRowId = lr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r.Id = @ListRow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AND lr.ListId = @ListId       -- đảm bảo đúng row thuộc list đó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AND ldc.ListId = @ListId      -- chỉ lấy cột của list này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ldc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the comments associated with that list row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Row INT = 1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Fir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Avata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onten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reatedA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RowComment lr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lrc.CreatedBy = a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rc.ListRowId = @ListRow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F667A2-657E-E247-49AE-886476D7CD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20054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FC9F89-C2F3-A793-42C1-272DB6F25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226814-0B6B-08AB-55DA-46578D02A6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AF9FE8-F9DE-E7B4-FA00-B650D3094D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Data Types of the Column.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CoverImg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ataTypeDescripti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isplayNam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SystemDataType s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CC2C7A-97C9-23B8-72BB-7F9175433E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342512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271600-1335-5F0E-9E0A-E271E66D4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77D4E5-D91A-3E34-6F44-FD73F4E2A1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79FA8D-E17F-3200-B35B-E411E27C7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82208F-BFBB-563F-7208-942FE8D00B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276854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EEB690-28F4-65A8-EEA1-5F74668B56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75360B-D8A8-416A-21D0-2ABDE8FF96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9E59B4-8498-84F4-0E0A-19755743E4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Key Settings corresponding to that Data Type.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SystemDataTypeId INT = 1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isplay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Key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ValueTyp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KeySetting ks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DataTypeSettingKey dsk ON ks.Id = dsk.KeySetting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ystemDataType sd ON dsk.SystemDataTypeId = sd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sk.SystemDataTypeId = @SystemDataType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A25693-157E-8626-435E-412ABE75B3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06985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64D124-AD52-D05F-48B0-9D77A512C5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54FB84-DDE4-EF79-0B16-8407A1C0BF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62997B-7F9F-6ABB-B078-3487847182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E8FC66-8523-E2EA-FD1D-EE040E3C15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0270152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4. Display all Dynamic Column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IsVisib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DisplayOrd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DynamicColumn d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c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dc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055677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00D828-DE99-C24D-E243-872AE3CBC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3D1838-6DF2-7AAE-BCDE-CAAE907963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B49E58-EA2B-CCB7-0FA3-5E04C0D71F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6E4267-EBDD-9539-944F-6C69E4E88C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77838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F24CCA-C3B4-516C-25A0-F98631C06A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75CE4A6-DE49-E700-5150-955A69E328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8BAD9F-4139-8F56-F348-DB3D094F07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FDBC40-CBD7-A9E8-6C95-8D976F1C2E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5610654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145200-00AD-0C3B-E9EF-616CEAC024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E19716-02C8-0F1D-00E4-9257777E4F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601E8D-9E80-A4EB-AA21-B965599292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593D24-BE39-C590-93B8-C38EEF31F8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0503081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28543D-D628-473C-4BCB-F8A9B0CACD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B78605-2336-D60F-2204-29F9C5E207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F3AB5A-0E0B-700F-BC74-EEB04461AF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44E4B9-DDEF-66E6-194E-50739D4122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254663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FBECC3-2F9C-7525-028D-9555F3D428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6D18DD-7638-501D-AAB9-79E382CC66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94F007-CA97-6512-0C20-C5E457CF9D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A3AC75-EC55-A7A8-0087-73657FB86A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201849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E701D4-58A9-7CEE-FCEC-DD3E9FBC5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3240BA-C427-A255-9D70-005CB5F234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DA3D27-537B-60ED-DFB6-AC7EFF9C42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F9981E-B4A0-7010-8754-B98F8DA887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965945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47317-0955-6CA9-57BF-464D15FBA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E67AB7-32E5-AF3F-1F38-02C0C6E0A5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835A5D-BEBB-0C42-CE71-39414A4A3B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E890C3-32FC-6F53-F29B-38C21B0261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70550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536D0E-3DFB-3CBE-9FE3-DEE6F766BA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487C8F1-0B57-4A04-1A2C-AE8B202299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1B7823-B6F6-5D02-C374-FAADDE7FBF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D57B96-95AA-0582-C762-3620C3342D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589171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F0447F-1CB7-04D9-0ABB-E37A07606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AB055D-4B30-A59E-E929-5D5C47DDF8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21A2DD-CFBC-9487-1529-1ED478A5C0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22A52D-A0FB-6089-A27B-06DBDB7300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85498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lists that the logged-in user created or were shared with them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  -- Replace with the ID of the logged-in user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DISTIN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,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mp.HighestPermissionCode, -- Extra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mp.GrantedByAccountId -- Extra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MemberPermission lmp ON l.Id = lmp.ListId AND lmp.AccountId = @UserId -- JOIN is still used because the creator will be added to ListMemberPermiss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.CreatedBy = @UserId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OR lmp.Id IS NOT NUL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lists that the logged-in user create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.CreatedBy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b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4. Display favorite lists of the logged-in us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  -- Replace with the ID of the logged-in user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FavoriteList f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NER JOIN List l ON fl.ListId = l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fl.FavoriteListOfUser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fl.CreatedAt DESC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19262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. Display information of the logged-in us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Fir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La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Avata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Email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Company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AccountStatu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Account a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a.Id = @User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1291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5655DA-FFB3-CD96-49C7-13E5BD21EA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FD26C4-EB8E-F90B-B6B1-637DEBE50D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10F57F-EAD8-D5E8-5D44-20FF564AF8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438117-AC65-D396-6A73-AA306EAD63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9114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0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8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9826610-AFF3-C258-3149-A3D7BCF27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shboard Scree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DBF6E0D-D012-449B-149E-9EBCC31AE6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830" y="1776100"/>
            <a:ext cx="8935697" cy="4467849"/>
          </a:xfrm>
          <a:prstGeom prst="rect">
            <a:avLst/>
          </a:prstGeom>
        </p:spPr>
      </p:pic>
      <p:sp>
        <p:nvSpPr>
          <p:cNvPr id="8" name="Callout: Line 7">
            <a:extLst>
              <a:ext uri="{FF2B5EF4-FFF2-40B4-BE49-F238E27FC236}">
                <a16:creationId xmlns:a16="http://schemas.microsoft.com/office/drawing/2014/main" id="{3A86D01F-2B75-5726-F37A-5DB5E5B04F7D}"/>
              </a:ext>
            </a:extLst>
          </p:cNvPr>
          <p:cNvSpPr/>
          <p:nvPr/>
        </p:nvSpPr>
        <p:spPr>
          <a:xfrm>
            <a:off x="1055830" y="4203788"/>
            <a:ext cx="8935697" cy="2040161"/>
          </a:xfrm>
          <a:prstGeom prst="borderCallout1">
            <a:avLst>
              <a:gd name="adj1" fmla="val 802"/>
              <a:gd name="adj2" fmla="val 48931"/>
              <a:gd name="adj3" fmla="val -41111"/>
              <a:gd name="adj4" fmla="val 55171"/>
            </a:avLst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C80F32-294F-015C-636B-7BE5F5D54387}"/>
              </a:ext>
            </a:extLst>
          </p:cNvPr>
          <p:cNvSpPr/>
          <p:nvPr/>
        </p:nvSpPr>
        <p:spPr>
          <a:xfrm>
            <a:off x="5915830" y="2974745"/>
            <a:ext cx="1408895" cy="36274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Workspa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21C37B-6673-9722-8C82-6464ACCE6BF6}"/>
              </a:ext>
            </a:extLst>
          </p:cNvPr>
          <p:cNvSpPr txBox="1"/>
          <p:nvPr/>
        </p:nvSpPr>
        <p:spPr>
          <a:xfrm>
            <a:off x="3106594" y="3532406"/>
            <a:ext cx="2240106" cy="33233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chemeClr val="tx2"/>
                </a:solidFill>
              </a:rPr>
              <a:t>Workspace. WorkspaceName</a:t>
            </a:r>
            <a:endParaRPr lang="en-US" sz="1400" dirty="0" err="1">
              <a:solidFill>
                <a:schemeClr val="tx2"/>
              </a:solidFill>
            </a:endParaRPr>
          </a:p>
        </p:txBody>
      </p:sp>
      <p:sp>
        <p:nvSpPr>
          <p:cNvPr id="16" name="Callout: Line 15">
            <a:extLst>
              <a:ext uri="{FF2B5EF4-FFF2-40B4-BE49-F238E27FC236}">
                <a16:creationId xmlns:a16="http://schemas.microsoft.com/office/drawing/2014/main" id="{42CD1FFB-49E8-E09F-5426-0697FFCF21F4}"/>
              </a:ext>
            </a:extLst>
          </p:cNvPr>
          <p:cNvSpPr/>
          <p:nvPr/>
        </p:nvSpPr>
        <p:spPr>
          <a:xfrm>
            <a:off x="2976179" y="5939035"/>
            <a:ext cx="837025" cy="129957"/>
          </a:xfrm>
          <a:prstGeom prst="borderCallout1">
            <a:avLst>
              <a:gd name="adj1" fmla="val 44778"/>
              <a:gd name="adj2" fmla="val 99001"/>
              <a:gd name="adj3" fmla="val -1668228"/>
              <a:gd name="adj4" fmla="val 131414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Callout: Line 17">
            <a:extLst>
              <a:ext uri="{FF2B5EF4-FFF2-40B4-BE49-F238E27FC236}">
                <a16:creationId xmlns:a16="http://schemas.microsoft.com/office/drawing/2014/main" id="{335DE1BB-EAC7-90B2-3B45-49E2390A5661}"/>
              </a:ext>
            </a:extLst>
          </p:cNvPr>
          <p:cNvSpPr/>
          <p:nvPr/>
        </p:nvSpPr>
        <p:spPr>
          <a:xfrm>
            <a:off x="1933773" y="4335883"/>
            <a:ext cx="837025" cy="428625"/>
          </a:xfrm>
          <a:prstGeom prst="borderCallout1">
            <a:avLst>
              <a:gd name="adj1" fmla="val 4778"/>
              <a:gd name="adj2" fmla="val 72828"/>
              <a:gd name="adj3" fmla="val -117313"/>
              <a:gd name="adj4" fmla="val 222451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393BE00-898F-B2E1-3CEA-98063980D321}"/>
              </a:ext>
            </a:extLst>
          </p:cNvPr>
          <p:cNvSpPr txBox="1"/>
          <p:nvPr/>
        </p:nvSpPr>
        <p:spPr>
          <a:xfrm>
            <a:off x="4655994" y="4369970"/>
            <a:ext cx="2240106" cy="33233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chemeClr val="tx2"/>
                </a:solidFill>
              </a:rPr>
              <a:t>Workspace. IsPersonal = true</a:t>
            </a:r>
            <a:endParaRPr lang="en-US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01862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AAD92-43CA-AD7C-DB13-043DC4ACD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1645B3A-A54E-3703-4BCE-C949DA166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Dashboard Scree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7E551C-0480-3B59-3D1E-01EB100264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7844" y="1609982"/>
            <a:ext cx="5996311" cy="4247901"/>
          </a:xfrm>
          <a:prstGeom prst="rect">
            <a:avLst/>
          </a:prstGeom>
        </p:spPr>
      </p:pic>
      <p:sp>
        <p:nvSpPr>
          <p:cNvPr id="8" name="Callout: Line 7">
            <a:extLst>
              <a:ext uri="{FF2B5EF4-FFF2-40B4-BE49-F238E27FC236}">
                <a16:creationId xmlns:a16="http://schemas.microsoft.com/office/drawing/2014/main" id="{F2D6C545-BCD7-EABF-C3C4-DC6308209304}"/>
              </a:ext>
            </a:extLst>
          </p:cNvPr>
          <p:cNvSpPr/>
          <p:nvPr/>
        </p:nvSpPr>
        <p:spPr>
          <a:xfrm>
            <a:off x="3262311" y="3448183"/>
            <a:ext cx="5667375" cy="2219192"/>
          </a:xfrm>
          <a:prstGeom prst="borderCallout1">
            <a:avLst>
              <a:gd name="adj1" fmla="val 4358"/>
              <a:gd name="adj2" fmla="val 99993"/>
              <a:gd name="adj3" fmla="val -26702"/>
              <a:gd name="adj4" fmla="val 113226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2E62C3-AF59-DEEA-A63C-A7A43A8D1CB4}"/>
              </a:ext>
            </a:extLst>
          </p:cNvPr>
          <p:cNvSpPr/>
          <p:nvPr/>
        </p:nvSpPr>
        <p:spPr>
          <a:xfrm>
            <a:off x="9698059" y="2400432"/>
            <a:ext cx="1084242" cy="38103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Account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CE948FB2-AB04-CBED-083A-93001B63DF75}"/>
              </a:ext>
            </a:extLst>
          </p:cNvPr>
          <p:cNvSpPr/>
          <p:nvPr/>
        </p:nvSpPr>
        <p:spPr>
          <a:xfrm>
            <a:off x="5372099" y="3695700"/>
            <a:ext cx="1638301" cy="533400"/>
          </a:xfrm>
          <a:prstGeom prst="borderCallout1">
            <a:avLst>
              <a:gd name="adj1" fmla="val 49001"/>
              <a:gd name="adj2" fmla="val 101102"/>
              <a:gd name="adj3" fmla="val 42941"/>
              <a:gd name="adj4" fmla="val 244039"/>
            </a:avLst>
          </a:prstGeom>
          <a:noFill/>
          <a:ln w="38100">
            <a:solidFill>
              <a:srgbClr val="669E88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404C6D-804F-5A7C-4903-DC2C1A5E7D67}"/>
              </a:ext>
            </a:extLst>
          </p:cNvPr>
          <p:cNvSpPr txBox="1"/>
          <p:nvPr/>
        </p:nvSpPr>
        <p:spPr>
          <a:xfrm>
            <a:off x="9596598" y="373393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Account.FirstName</a:t>
            </a:r>
          </a:p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Account.LastName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14" name="Callout: Line 13">
            <a:extLst>
              <a:ext uri="{FF2B5EF4-FFF2-40B4-BE49-F238E27FC236}">
                <a16:creationId xmlns:a16="http://schemas.microsoft.com/office/drawing/2014/main" id="{C46EBC30-8D6F-840B-B66B-DBAEAEB328DA}"/>
              </a:ext>
            </a:extLst>
          </p:cNvPr>
          <p:cNvSpPr/>
          <p:nvPr/>
        </p:nvSpPr>
        <p:spPr>
          <a:xfrm>
            <a:off x="5372099" y="4314825"/>
            <a:ext cx="3371849" cy="333507"/>
          </a:xfrm>
          <a:prstGeom prst="borderCallout1">
            <a:avLst>
              <a:gd name="adj1" fmla="val 97372"/>
              <a:gd name="adj2" fmla="val 100274"/>
              <a:gd name="adj3" fmla="val 149708"/>
              <a:gd name="adj4" fmla="val 123149"/>
            </a:avLst>
          </a:prstGeom>
          <a:noFill/>
          <a:ln w="38100">
            <a:solidFill>
              <a:srgbClr val="669E88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14E061-D8C0-6DF6-1FCE-F8396C2183A8}"/>
              </a:ext>
            </a:extLst>
          </p:cNvPr>
          <p:cNvSpPr txBox="1"/>
          <p:nvPr/>
        </p:nvSpPr>
        <p:spPr>
          <a:xfrm>
            <a:off x="9582084" y="4905374"/>
            <a:ext cx="914400" cy="2951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Account.Email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16" name="Callout: Line 15">
            <a:extLst>
              <a:ext uri="{FF2B5EF4-FFF2-40B4-BE49-F238E27FC236}">
                <a16:creationId xmlns:a16="http://schemas.microsoft.com/office/drawing/2014/main" id="{B6BF16C7-5C48-F153-F529-17447D237CD0}"/>
              </a:ext>
            </a:extLst>
          </p:cNvPr>
          <p:cNvSpPr/>
          <p:nvPr/>
        </p:nvSpPr>
        <p:spPr>
          <a:xfrm>
            <a:off x="3343276" y="3704960"/>
            <a:ext cx="1864354" cy="1848115"/>
          </a:xfrm>
          <a:prstGeom prst="borderCallout1">
            <a:avLst>
              <a:gd name="adj1" fmla="val 53564"/>
              <a:gd name="adj2" fmla="val 648"/>
              <a:gd name="adj3" fmla="val 71884"/>
              <a:gd name="adj4" fmla="val -60775"/>
            </a:avLst>
          </a:prstGeom>
          <a:noFill/>
          <a:ln w="38100">
            <a:solidFill>
              <a:srgbClr val="669E88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DC1C45C-B33E-EE5E-EE7E-B86801EE9F80}"/>
              </a:ext>
            </a:extLst>
          </p:cNvPr>
          <p:cNvSpPr txBox="1"/>
          <p:nvPr/>
        </p:nvSpPr>
        <p:spPr>
          <a:xfrm>
            <a:off x="620710" y="4884139"/>
            <a:ext cx="914400" cy="2877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Account.Avatar</a:t>
            </a:r>
            <a:endParaRPr lang="en-US" dirty="0" err="1">
              <a:solidFill>
                <a:srgbClr val="005D3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8093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F4864C-4583-CC29-9DF4-730C909299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482B54-9CF4-9EAB-0CED-7385EC256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Entity Relationship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01E4A-F84D-2B52-024A-0DA473E67F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4739" y="1098000"/>
            <a:ext cx="9182521" cy="5653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1861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D81E87-747C-6543-3BEA-28EFF842D4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D324E93-984D-E97B-F8EA-1AC9A37B6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Dashboard Sample Data</a:t>
            </a:r>
          </a:p>
        </p:txBody>
      </p:sp>
    </p:spTree>
    <p:extLst>
      <p:ext uri="{BB962C8B-B14F-4D97-AF65-F5344CB8AC3E}">
        <p14:creationId xmlns:p14="http://schemas.microsoft.com/office/powerpoint/2010/main" val="29336138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9AE478-4911-D45A-7A84-ABA3EBD9D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7524BDD-C6F5-8DBA-E0DD-04E9C990C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List Scree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C97EB7C-BDF4-E62F-836E-FC6E39422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315" y="1692973"/>
            <a:ext cx="11449369" cy="3472054"/>
          </a:xfrm>
          <a:prstGeom prst="rect">
            <a:avLst/>
          </a:prstGeom>
        </p:spPr>
      </p:pic>
      <p:sp>
        <p:nvSpPr>
          <p:cNvPr id="10" name="Callout: Line 9">
            <a:extLst>
              <a:ext uri="{FF2B5EF4-FFF2-40B4-BE49-F238E27FC236}">
                <a16:creationId xmlns:a16="http://schemas.microsoft.com/office/drawing/2014/main" id="{D5ACDA8F-4802-3EA2-CEA1-0018FDC86628}"/>
              </a:ext>
            </a:extLst>
          </p:cNvPr>
          <p:cNvSpPr/>
          <p:nvPr/>
        </p:nvSpPr>
        <p:spPr>
          <a:xfrm>
            <a:off x="431999" y="2794088"/>
            <a:ext cx="11112301" cy="2171612"/>
          </a:xfrm>
          <a:prstGeom prst="borderCallout1">
            <a:avLst>
              <a:gd name="adj1" fmla="val 802"/>
              <a:gd name="adj2" fmla="val 48931"/>
              <a:gd name="adj3" fmla="val -41111"/>
              <a:gd name="adj4" fmla="val 55171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E29C630-D521-B787-C500-2A81779C348C}"/>
              </a:ext>
            </a:extLst>
          </p:cNvPr>
          <p:cNvSpPr/>
          <p:nvPr/>
        </p:nvSpPr>
        <p:spPr>
          <a:xfrm>
            <a:off x="6620277" y="1699412"/>
            <a:ext cx="1408895" cy="362746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ype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432E1A35-CDE9-A89D-E676-1EFBE259E99D}"/>
              </a:ext>
            </a:extLst>
          </p:cNvPr>
          <p:cNvSpPr/>
          <p:nvPr/>
        </p:nvSpPr>
        <p:spPr>
          <a:xfrm>
            <a:off x="781331" y="3086100"/>
            <a:ext cx="1530070" cy="1193800"/>
          </a:xfrm>
          <a:prstGeom prst="borderCallout1">
            <a:avLst>
              <a:gd name="adj1" fmla="val 97610"/>
              <a:gd name="adj2" fmla="val 97903"/>
              <a:gd name="adj3" fmla="val 199315"/>
              <a:gd name="adj4" fmla="val 142324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A6809F88-D8DD-667E-0B79-EC9CE773DE7B}"/>
              </a:ext>
            </a:extLst>
          </p:cNvPr>
          <p:cNvSpPr/>
          <p:nvPr/>
        </p:nvSpPr>
        <p:spPr>
          <a:xfrm>
            <a:off x="3187699" y="4279900"/>
            <a:ext cx="1231901" cy="342900"/>
          </a:xfrm>
          <a:prstGeom prst="borderCallout1">
            <a:avLst>
              <a:gd name="adj1" fmla="val 97610"/>
              <a:gd name="adj2" fmla="val 97903"/>
              <a:gd name="adj3" fmla="val 306722"/>
              <a:gd name="adj4" fmla="val 123768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8E9E8C6D-2018-7A79-74F6-5353FE3895A8}"/>
              </a:ext>
            </a:extLst>
          </p:cNvPr>
          <p:cNvSpPr/>
          <p:nvPr/>
        </p:nvSpPr>
        <p:spPr>
          <a:xfrm>
            <a:off x="9536048" y="3422650"/>
            <a:ext cx="1530070" cy="692150"/>
          </a:xfrm>
          <a:prstGeom prst="borderCallout1">
            <a:avLst>
              <a:gd name="adj1" fmla="val 101280"/>
              <a:gd name="adj2" fmla="val 5770"/>
              <a:gd name="adj3" fmla="val 284704"/>
              <a:gd name="adj4" fmla="val -23147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499EA62-3FA8-90A8-599A-34359151CFF1}"/>
              </a:ext>
            </a:extLst>
          </p:cNvPr>
          <p:cNvSpPr txBox="1"/>
          <p:nvPr/>
        </p:nvSpPr>
        <p:spPr>
          <a:xfrm>
            <a:off x="2201798" y="5601814"/>
            <a:ext cx="914400" cy="2951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ype.HeaderImage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89EDCD8-8D4B-C605-28EB-BB8B88C5E73C}"/>
              </a:ext>
            </a:extLst>
          </p:cNvPr>
          <p:cNvSpPr txBox="1"/>
          <p:nvPr/>
        </p:nvSpPr>
        <p:spPr>
          <a:xfrm>
            <a:off x="4834799" y="5224263"/>
            <a:ext cx="914400" cy="2951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ype.Title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8981F9A-160E-FA60-13D7-3C9E10F8A7E1}"/>
              </a:ext>
            </a:extLst>
          </p:cNvPr>
          <p:cNvSpPr txBox="1"/>
          <p:nvPr/>
        </p:nvSpPr>
        <p:spPr>
          <a:xfrm>
            <a:off x="8103720" y="5428772"/>
            <a:ext cx="2480401" cy="30023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ype. ListTypeDescription </a:t>
            </a:r>
            <a:endParaRPr lang="en-US" dirty="0" err="1">
              <a:solidFill>
                <a:srgbClr val="005D3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1140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3CF4D9-2F87-79EA-153C-552F34C2D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F1A088-7490-7621-ECF9-0EA7052AC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Create List From List Type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A790497-41CA-ECB4-231B-C6FE0AA7039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72" b="8009"/>
          <a:stretch>
            <a:fillRect/>
          </a:stretch>
        </p:blipFill>
        <p:spPr>
          <a:xfrm>
            <a:off x="0" y="1212300"/>
            <a:ext cx="12192000" cy="5207000"/>
          </a:xfrm>
        </p:spPr>
      </p:pic>
      <p:sp>
        <p:nvSpPr>
          <p:cNvPr id="4" name="Callout: Line 3">
            <a:extLst>
              <a:ext uri="{FF2B5EF4-FFF2-40B4-BE49-F238E27FC236}">
                <a16:creationId xmlns:a16="http://schemas.microsoft.com/office/drawing/2014/main" id="{52D985DF-C1F6-502A-7140-18B3F975E2FF}"/>
              </a:ext>
            </a:extLst>
          </p:cNvPr>
          <p:cNvSpPr/>
          <p:nvPr/>
        </p:nvSpPr>
        <p:spPr>
          <a:xfrm>
            <a:off x="1270000" y="1409700"/>
            <a:ext cx="10274300" cy="4236000"/>
          </a:xfrm>
          <a:prstGeom prst="borderCallout1">
            <a:avLst>
              <a:gd name="adj1" fmla="val 802"/>
              <a:gd name="adj2" fmla="val 48931"/>
              <a:gd name="adj3" fmla="val -9331"/>
              <a:gd name="adj4" fmla="val 70251"/>
            </a:avLst>
          </a:prstGeom>
          <a:noFill/>
          <a:ln w="38100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49621B3-BB2D-741D-C7AC-DE452D3EF9AF}"/>
              </a:ext>
            </a:extLst>
          </p:cNvPr>
          <p:cNvSpPr/>
          <p:nvPr/>
        </p:nvSpPr>
        <p:spPr>
          <a:xfrm>
            <a:off x="8752663" y="678817"/>
            <a:ext cx="785037" cy="476333"/>
          </a:xfrm>
          <a:prstGeom prst="roundRect">
            <a:avLst/>
          </a:prstGeom>
          <a:solidFill>
            <a:srgbClr val="00B0F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2000" b="1">
                <a:solidFill>
                  <a:sysClr val="windowText" lastClr="000000"/>
                </a:solidFill>
              </a:rPr>
              <a:t>List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8CE2E8B-C49D-FC3A-8DC8-35298900117E}"/>
              </a:ext>
            </a:extLst>
          </p:cNvPr>
          <p:cNvSpPr/>
          <p:nvPr/>
        </p:nvSpPr>
        <p:spPr>
          <a:xfrm>
            <a:off x="3215463" y="1574333"/>
            <a:ext cx="1293037" cy="476333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yp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801F1FD-AB95-6DA2-1F6E-B31A90F48FC6}"/>
              </a:ext>
            </a:extLst>
          </p:cNvPr>
          <p:cNvSpPr/>
          <p:nvPr/>
        </p:nvSpPr>
        <p:spPr>
          <a:xfrm>
            <a:off x="7348130" y="3911600"/>
            <a:ext cx="4056469" cy="464100"/>
          </a:xfrm>
          <a:prstGeom prst="roundRect">
            <a:avLst/>
          </a:prstGeom>
          <a:noFill/>
          <a:ln w="38100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41FE487-A88A-57BD-C8CE-A442F19BD767}"/>
              </a:ext>
            </a:extLst>
          </p:cNvPr>
          <p:cNvSpPr/>
          <p:nvPr/>
        </p:nvSpPr>
        <p:spPr>
          <a:xfrm>
            <a:off x="9145181" y="3434717"/>
            <a:ext cx="1676400" cy="47633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rgbClr val="005D39"/>
                </a:solidFill>
              </a:rPr>
              <a:t>List.ListName</a:t>
            </a:r>
          </a:p>
        </p:txBody>
      </p:sp>
    </p:spTree>
    <p:extLst>
      <p:ext uri="{BB962C8B-B14F-4D97-AF65-F5344CB8AC3E}">
        <p14:creationId xmlns:p14="http://schemas.microsoft.com/office/powerpoint/2010/main" val="24054825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6B06DFE-E460-5899-FEE9-33EF2426F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ity Relationshi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C1A8E6-F028-23B9-E18E-11E4957211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529" y="2155634"/>
            <a:ext cx="10440942" cy="3584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4611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26619-FFFF-5302-9D68-83328BFD0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E4EABAE-EECB-BFE2-DE62-E4E7DE8DA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Create List Screen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B0AC3EC-57F2-2BF4-87F3-8DD9EE81AF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2" t="8009" b="8009"/>
          <a:stretch>
            <a:fillRect/>
          </a:stretch>
        </p:blipFill>
        <p:spPr>
          <a:xfrm>
            <a:off x="431999" y="1098000"/>
            <a:ext cx="11328002" cy="5473408"/>
          </a:xfrm>
        </p:spPr>
      </p:pic>
    </p:spTree>
    <p:extLst>
      <p:ext uri="{BB962C8B-B14F-4D97-AF65-F5344CB8AC3E}">
        <p14:creationId xmlns:p14="http://schemas.microsoft.com/office/powerpoint/2010/main" val="36416997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C9F7222-EBF7-7AE9-6287-83AE26DEC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 Templ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C691C61-B21A-A9D4-CFC1-06B3FD11A5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6519" y="1457829"/>
            <a:ext cx="10478962" cy="5325218"/>
          </a:xfrm>
          <a:prstGeom prst="rect">
            <a:avLst/>
          </a:prstGeom>
        </p:spPr>
      </p:pic>
      <p:sp>
        <p:nvSpPr>
          <p:cNvPr id="6" name="Callout: Line 5">
            <a:extLst>
              <a:ext uri="{FF2B5EF4-FFF2-40B4-BE49-F238E27FC236}">
                <a16:creationId xmlns:a16="http://schemas.microsoft.com/office/drawing/2014/main" id="{100B74CE-6DA3-3508-89F6-42A370BA049B}"/>
              </a:ext>
            </a:extLst>
          </p:cNvPr>
          <p:cNvSpPr/>
          <p:nvPr/>
        </p:nvSpPr>
        <p:spPr>
          <a:xfrm>
            <a:off x="2514600" y="1457829"/>
            <a:ext cx="8820150" cy="4867274"/>
          </a:xfrm>
          <a:prstGeom prst="borderCallout1">
            <a:avLst>
              <a:gd name="adj1" fmla="val 19"/>
              <a:gd name="adj2" fmla="val 12862"/>
              <a:gd name="adj3" fmla="val -7702"/>
              <a:gd name="adj4" fmla="val 9383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5910DE5-E701-48DE-A365-3031F073F8BA}"/>
              </a:ext>
            </a:extLst>
          </p:cNvPr>
          <p:cNvSpPr/>
          <p:nvPr/>
        </p:nvSpPr>
        <p:spPr>
          <a:xfrm>
            <a:off x="1812306" y="917747"/>
            <a:ext cx="1537937" cy="249796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emplate</a:t>
            </a: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0EE8106B-989D-583A-0E40-2E6AF16669F7}"/>
              </a:ext>
            </a:extLst>
          </p:cNvPr>
          <p:cNvSpPr/>
          <p:nvPr/>
        </p:nvSpPr>
        <p:spPr>
          <a:xfrm>
            <a:off x="2581274" y="1598699"/>
            <a:ext cx="1476375" cy="362747"/>
          </a:xfrm>
          <a:prstGeom prst="borderCallout1">
            <a:avLst>
              <a:gd name="adj1" fmla="val 53318"/>
              <a:gd name="adj2" fmla="val 99899"/>
              <a:gd name="adj3" fmla="val 50791"/>
              <a:gd name="adj4" fmla="val 139840"/>
            </a:avLst>
          </a:prstGeom>
          <a:noFill/>
          <a:ln w="1905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F4781D-54FE-7244-6DE0-1FE6CB72AEEB}"/>
              </a:ext>
            </a:extLst>
          </p:cNvPr>
          <p:cNvSpPr txBox="1"/>
          <p:nvPr/>
        </p:nvSpPr>
        <p:spPr>
          <a:xfrm>
            <a:off x="4857168" y="1598699"/>
            <a:ext cx="3534357" cy="38485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emplate.Icon / Color / Title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:a16="http://schemas.microsoft.com/office/drawing/2014/main" id="{C36BA3C8-B5FE-1C3C-5FEE-268FA2DB6981}"/>
              </a:ext>
            </a:extLst>
          </p:cNvPr>
          <p:cNvSpPr/>
          <p:nvPr/>
        </p:nvSpPr>
        <p:spPr>
          <a:xfrm>
            <a:off x="2581274" y="2028140"/>
            <a:ext cx="2114551" cy="257249"/>
          </a:xfrm>
          <a:prstGeom prst="borderCallout1">
            <a:avLst>
              <a:gd name="adj1" fmla="val 53318"/>
              <a:gd name="adj2" fmla="val 100736"/>
              <a:gd name="adj3" fmla="val 50791"/>
              <a:gd name="adj4" fmla="val 127678"/>
            </a:avLst>
          </a:prstGeom>
          <a:noFill/>
          <a:ln w="1905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8B1CF7-002B-9237-9F52-12B765B2F7DD}"/>
              </a:ext>
            </a:extLst>
          </p:cNvPr>
          <p:cNvSpPr txBox="1"/>
          <p:nvPr/>
        </p:nvSpPr>
        <p:spPr>
          <a:xfrm>
            <a:off x="5396918" y="1967227"/>
            <a:ext cx="3534357" cy="38485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emplate.TemplateDescription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16E0F768-70F0-F283-0754-2B36C4D1D96D}"/>
              </a:ext>
            </a:extLst>
          </p:cNvPr>
          <p:cNvSpPr/>
          <p:nvPr/>
        </p:nvSpPr>
        <p:spPr>
          <a:xfrm>
            <a:off x="856519" y="1527373"/>
            <a:ext cx="1334231" cy="949128"/>
          </a:xfrm>
          <a:prstGeom prst="borderCallout1">
            <a:avLst>
              <a:gd name="adj1" fmla="val 2022"/>
              <a:gd name="adj2" fmla="val 72091"/>
              <a:gd name="adj3" fmla="val -36395"/>
              <a:gd name="adj4" fmla="val 86484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C0FD37-16AD-89E4-A549-F68F58638F12}"/>
              </a:ext>
            </a:extLst>
          </p:cNvPr>
          <p:cNvSpPr/>
          <p:nvPr/>
        </p:nvSpPr>
        <p:spPr>
          <a:xfrm>
            <a:off x="2705100" y="2341590"/>
            <a:ext cx="8458200" cy="3840135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8FF254D-4A7D-BC91-8D7B-9E6B05E4A035}"/>
              </a:ext>
            </a:extLst>
          </p:cNvPr>
          <p:cNvSpPr/>
          <p:nvPr/>
        </p:nvSpPr>
        <p:spPr>
          <a:xfrm>
            <a:off x="9446208" y="1695496"/>
            <a:ext cx="1717092" cy="58989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emplateView</a:t>
            </a:r>
          </a:p>
        </p:txBody>
      </p:sp>
    </p:spTree>
    <p:extLst>
      <p:ext uri="{BB962C8B-B14F-4D97-AF65-F5344CB8AC3E}">
        <p14:creationId xmlns:p14="http://schemas.microsoft.com/office/powerpoint/2010/main" val="41373242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38EC8B-0ADE-3A57-D844-9FE2F10B1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 Templ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A14ABE-2E79-954D-0E4B-A117A7DBF21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450"/>
          <a:stretch>
            <a:fillRect/>
          </a:stretch>
        </p:blipFill>
        <p:spPr>
          <a:xfrm>
            <a:off x="431999" y="1098000"/>
            <a:ext cx="8634449" cy="5201376"/>
          </a:xfrm>
          <a:prstGeom prst="rect">
            <a:avLst/>
          </a:prstGeom>
        </p:spPr>
      </p:pic>
      <p:sp>
        <p:nvSpPr>
          <p:cNvPr id="6" name="Callout: Line 5">
            <a:extLst>
              <a:ext uri="{FF2B5EF4-FFF2-40B4-BE49-F238E27FC236}">
                <a16:creationId xmlns:a16="http://schemas.microsoft.com/office/drawing/2014/main" id="{DD60D09E-3392-8397-557B-4FC7ADE92C5F}"/>
              </a:ext>
            </a:extLst>
          </p:cNvPr>
          <p:cNvSpPr/>
          <p:nvPr/>
        </p:nvSpPr>
        <p:spPr>
          <a:xfrm>
            <a:off x="5362574" y="1994216"/>
            <a:ext cx="1085851" cy="3561847"/>
          </a:xfrm>
          <a:prstGeom prst="borderCallout1">
            <a:avLst>
              <a:gd name="adj1" fmla="val -522"/>
              <a:gd name="adj2" fmla="val 59676"/>
              <a:gd name="adj3" fmla="val -13351"/>
              <a:gd name="adj4" fmla="val 59664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0807959-0E64-06C6-CA31-7A466D696210}"/>
              </a:ext>
            </a:extLst>
          </p:cNvPr>
          <p:cNvSpPr/>
          <p:nvPr/>
        </p:nvSpPr>
        <p:spPr>
          <a:xfrm>
            <a:off x="5006665" y="1225605"/>
            <a:ext cx="2178669" cy="320503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emplateColumn</a:t>
            </a: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8CF07A9D-C85D-162C-CE7B-8B88EF230BDE}"/>
              </a:ext>
            </a:extLst>
          </p:cNvPr>
          <p:cNvSpPr/>
          <p:nvPr/>
        </p:nvSpPr>
        <p:spPr>
          <a:xfrm>
            <a:off x="679649" y="4508817"/>
            <a:ext cx="8286750" cy="1047246"/>
          </a:xfrm>
          <a:prstGeom prst="borderCallout1">
            <a:avLst>
              <a:gd name="adj1" fmla="val 45495"/>
              <a:gd name="adj2" fmla="val 99759"/>
              <a:gd name="adj3" fmla="val 47281"/>
              <a:gd name="adj4" fmla="val 106786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3348F27-C9C3-58B8-C581-FECD4B0AE6E6}"/>
              </a:ext>
            </a:extLst>
          </p:cNvPr>
          <p:cNvSpPr/>
          <p:nvPr/>
        </p:nvSpPr>
        <p:spPr>
          <a:xfrm>
            <a:off x="9584816" y="4858051"/>
            <a:ext cx="1740409" cy="3205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emplateRow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3EA4FC54-75BC-A315-894B-35A148C7145C}"/>
              </a:ext>
            </a:extLst>
          </p:cNvPr>
          <p:cNvSpPr/>
          <p:nvPr/>
        </p:nvSpPr>
        <p:spPr>
          <a:xfrm>
            <a:off x="5362574" y="1994217"/>
            <a:ext cx="1085851" cy="369332"/>
          </a:xfrm>
          <a:prstGeom prst="borderCallout1">
            <a:avLst>
              <a:gd name="adj1" fmla="val 54500"/>
              <a:gd name="adj2" fmla="val 66694"/>
              <a:gd name="adj3" fmla="val -48380"/>
              <a:gd name="adj4" fmla="val 192998"/>
            </a:avLst>
          </a:prstGeom>
          <a:noFill/>
          <a:ln w="127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9C1446A-593E-AC92-3674-7916A7831054}"/>
              </a:ext>
            </a:extLst>
          </p:cNvPr>
          <p:cNvSpPr txBox="1"/>
          <p:nvPr/>
        </p:nvSpPr>
        <p:spPr>
          <a:xfrm>
            <a:off x="7453200" y="1624884"/>
            <a:ext cx="43068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rgbClr val="005D39"/>
                </a:solidFill>
              </a:rPr>
              <a:t>TemplateColumn. Icon / ColumnNam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CC42B57-FD4F-BFF5-8587-DCEBF4BAECC2}"/>
              </a:ext>
            </a:extLst>
          </p:cNvPr>
          <p:cNvSpPr/>
          <p:nvPr/>
        </p:nvSpPr>
        <p:spPr>
          <a:xfrm>
            <a:off x="5594349" y="2098442"/>
            <a:ext cx="177801" cy="184150"/>
          </a:xfrm>
          <a:prstGeom prst="rect">
            <a:avLst/>
          </a:prstGeom>
          <a:noFill/>
          <a:ln w="127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5733A72-C435-53BA-2171-E47F45A6FB31}"/>
              </a:ext>
            </a:extLst>
          </p:cNvPr>
          <p:cNvSpPr/>
          <p:nvPr/>
        </p:nvSpPr>
        <p:spPr>
          <a:xfrm>
            <a:off x="5772150" y="2098442"/>
            <a:ext cx="323850" cy="184150"/>
          </a:xfrm>
          <a:prstGeom prst="rect">
            <a:avLst/>
          </a:prstGeom>
          <a:noFill/>
          <a:ln w="127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CC5FA7D8-7674-9AC0-FBE9-5CD0E21871BC}"/>
              </a:ext>
            </a:extLst>
          </p:cNvPr>
          <p:cNvSpPr/>
          <p:nvPr/>
        </p:nvSpPr>
        <p:spPr>
          <a:xfrm>
            <a:off x="5406389" y="4532717"/>
            <a:ext cx="1019176" cy="992866"/>
          </a:xfrm>
          <a:prstGeom prst="roundRect">
            <a:avLst/>
          </a:prstGeom>
          <a:pattFill prst="wdDnDiag">
            <a:fgClr>
              <a:srgbClr val="99B9D4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1DE36B1-89F9-04DB-0BB3-A36DE9C0095F}"/>
              </a:ext>
            </a:extLst>
          </p:cNvPr>
          <p:cNvCxnSpPr>
            <a:cxnSpLocks/>
          </p:cNvCxnSpPr>
          <p:nvPr/>
        </p:nvCxnSpPr>
        <p:spPr>
          <a:xfrm flipV="1">
            <a:off x="6299272" y="4274820"/>
            <a:ext cx="391088" cy="396240"/>
          </a:xfrm>
          <a:prstGeom prst="straightConnector1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7B84C8C1-AB2A-5B31-54B9-87F33D1ACE9A}"/>
              </a:ext>
            </a:extLst>
          </p:cNvPr>
          <p:cNvSpPr/>
          <p:nvPr/>
        </p:nvSpPr>
        <p:spPr>
          <a:xfrm>
            <a:off x="6690178" y="3986544"/>
            <a:ext cx="2276221" cy="320503"/>
          </a:xfrm>
          <a:prstGeom prst="roundRect">
            <a:avLst/>
          </a:prstGeom>
          <a:solidFill>
            <a:srgbClr val="1DA8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emplateCellValue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759CC442-EFF2-76BC-9A98-E97133FCF3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3249" y="4762591"/>
            <a:ext cx="495369" cy="17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9598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/>
              <a:t>Ypp 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F20A3E-6BDB-107F-240A-03615A82F7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0783896-60B4-F399-9C99-17964685FA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042645"/>
            <a:ext cx="10440857" cy="516327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773E281-089F-FD96-D84F-3550B1B90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List from Template</a:t>
            </a:r>
          </a:p>
        </p:txBody>
      </p:sp>
      <p:sp>
        <p:nvSpPr>
          <p:cNvPr id="6" name="Callout: Line 5">
            <a:extLst>
              <a:ext uri="{FF2B5EF4-FFF2-40B4-BE49-F238E27FC236}">
                <a16:creationId xmlns:a16="http://schemas.microsoft.com/office/drawing/2014/main" id="{334D620A-2F5E-9E20-587D-EF7159820E2E}"/>
              </a:ext>
            </a:extLst>
          </p:cNvPr>
          <p:cNvSpPr/>
          <p:nvPr/>
        </p:nvSpPr>
        <p:spPr>
          <a:xfrm>
            <a:off x="432000" y="1042645"/>
            <a:ext cx="6092626" cy="4897608"/>
          </a:xfrm>
          <a:prstGeom prst="borderCallout1">
            <a:avLst>
              <a:gd name="adj1" fmla="val 13399"/>
              <a:gd name="adj2" fmla="val 100035"/>
              <a:gd name="adj3" fmla="val 13614"/>
              <a:gd name="adj4" fmla="val 108063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8BDEA8C-E6C4-C5D4-3773-2D3DECD34782}"/>
              </a:ext>
            </a:extLst>
          </p:cNvPr>
          <p:cNvSpPr/>
          <p:nvPr/>
        </p:nvSpPr>
        <p:spPr>
          <a:xfrm>
            <a:off x="7007241" y="1573067"/>
            <a:ext cx="1537937" cy="249796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emplate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17DE8B8A-971F-48CF-01A3-F7E525E43D19}"/>
              </a:ext>
            </a:extLst>
          </p:cNvPr>
          <p:cNvSpPr/>
          <p:nvPr/>
        </p:nvSpPr>
        <p:spPr>
          <a:xfrm>
            <a:off x="266700" y="917746"/>
            <a:ext cx="10687050" cy="5288169"/>
          </a:xfrm>
          <a:prstGeom prst="borderCallout1">
            <a:avLst>
              <a:gd name="adj1" fmla="val -470"/>
              <a:gd name="adj2" fmla="val 83725"/>
              <a:gd name="adj3" fmla="val -4758"/>
              <a:gd name="adj4" fmla="val 80969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EA31284-BDCB-9E68-0D2B-E860295040EC}"/>
              </a:ext>
            </a:extLst>
          </p:cNvPr>
          <p:cNvSpPr/>
          <p:nvPr/>
        </p:nvSpPr>
        <p:spPr>
          <a:xfrm>
            <a:off x="8195936" y="442680"/>
            <a:ext cx="698484" cy="24979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</a:t>
            </a: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5B9B5551-D05B-987C-35E9-F75875B7EA06}"/>
              </a:ext>
            </a:extLst>
          </p:cNvPr>
          <p:cNvSpPr/>
          <p:nvPr/>
        </p:nvSpPr>
        <p:spPr>
          <a:xfrm>
            <a:off x="6819899" y="3628700"/>
            <a:ext cx="3914776" cy="540076"/>
          </a:xfrm>
          <a:prstGeom prst="borderCallout1">
            <a:avLst>
              <a:gd name="adj1" fmla="val 1294"/>
              <a:gd name="adj2" fmla="val 58908"/>
              <a:gd name="adj3" fmla="val -48849"/>
              <a:gd name="adj4" fmla="val 50555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7AE1F45-D09B-5B2C-CDD4-D6575A5D4F3D}"/>
              </a:ext>
            </a:extLst>
          </p:cNvPr>
          <p:cNvSpPr/>
          <p:nvPr/>
        </p:nvSpPr>
        <p:spPr>
          <a:xfrm>
            <a:off x="7776209" y="2958384"/>
            <a:ext cx="1676400" cy="47633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tx2"/>
                </a:solidFill>
              </a:rPr>
              <a:t>List.ListName</a:t>
            </a:r>
          </a:p>
        </p:txBody>
      </p:sp>
    </p:spTree>
    <p:extLst>
      <p:ext uri="{BB962C8B-B14F-4D97-AF65-F5344CB8AC3E}">
        <p14:creationId xmlns:p14="http://schemas.microsoft.com/office/powerpoint/2010/main" val="5210702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33A794-414C-21BE-F476-D60B5A0EF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ity Relationshi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7D2D8C-059F-0B32-00FD-052B00F9E1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6204" y="1098000"/>
            <a:ext cx="9259592" cy="5468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4491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675818-D265-C143-A82E-97E110C519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F0C479B3-9CF2-783C-17BC-3FC2C75EE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Create List Sample Data</a:t>
            </a:r>
          </a:p>
        </p:txBody>
      </p:sp>
    </p:spTree>
    <p:extLst>
      <p:ext uri="{BB962C8B-B14F-4D97-AF65-F5344CB8AC3E}">
        <p14:creationId xmlns:p14="http://schemas.microsoft.com/office/powerpoint/2010/main" val="40695758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803FEC-5DF7-0529-6ED2-52A96570C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92EF474-E4E7-0D34-E4C7-C268FC1DF3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2015"/>
            <a:ext cx="12192000" cy="544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6052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1CEC6803-3F3D-5BCD-FF7D-A0B99BDC9C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7331" y="1744680"/>
            <a:ext cx="9260720" cy="329737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1E8930D-6FF9-345F-897E-1233FDD534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</a:t>
            </a:r>
          </a:p>
        </p:txBody>
      </p:sp>
      <p:sp>
        <p:nvSpPr>
          <p:cNvPr id="6" name="Callout: Line 5">
            <a:extLst>
              <a:ext uri="{FF2B5EF4-FFF2-40B4-BE49-F238E27FC236}">
                <a16:creationId xmlns:a16="http://schemas.microsoft.com/office/drawing/2014/main" id="{EDE5BCF1-1909-8393-7F57-C00DD025AEF4}"/>
              </a:ext>
            </a:extLst>
          </p:cNvPr>
          <p:cNvSpPr/>
          <p:nvPr/>
        </p:nvSpPr>
        <p:spPr>
          <a:xfrm>
            <a:off x="8404428" y="2905498"/>
            <a:ext cx="1962581" cy="412306"/>
          </a:xfrm>
          <a:prstGeom prst="borderCallout1">
            <a:avLst>
              <a:gd name="adj1" fmla="val 94452"/>
              <a:gd name="adj2" fmla="val 51344"/>
              <a:gd name="adj3" fmla="val 173531"/>
              <a:gd name="adj4" fmla="val 41048"/>
            </a:avLst>
          </a:prstGeom>
          <a:noFill/>
          <a:ln w="38100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4E93824-1CF6-2998-F79F-3FA6D34114AA}"/>
              </a:ext>
            </a:extLst>
          </p:cNvPr>
          <p:cNvSpPr/>
          <p:nvPr/>
        </p:nvSpPr>
        <p:spPr>
          <a:xfrm>
            <a:off x="13874743" y="-861282"/>
            <a:ext cx="459233" cy="45719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emplate</a:t>
            </a: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46B40477-F617-87B6-0802-ABBF4C2486AB}"/>
              </a:ext>
            </a:extLst>
          </p:cNvPr>
          <p:cNvSpPr/>
          <p:nvPr/>
        </p:nvSpPr>
        <p:spPr>
          <a:xfrm>
            <a:off x="5726105" y="3255762"/>
            <a:ext cx="1128459" cy="1352423"/>
          </a:xfrm>
          <a:prstGeom prst="borderCallout1">
            <a:avLst>
              <a:gd name="adj1" fmla="val 1271"/>
              <a:gd name="adj2" fmla="val 50499"/>
              <a:gd name="adj3" fmla="val -23029"/>
              <a:gd name="adj4" fmla="val 50519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Callout: Line 10">
            <a:extLst>
              <a:ext uri="{FF2B5EF4-FFF2-40B4-BE49-F238E27FC236}">
                <a16:creationId xmlns:a16="http://schemas.microsoft.com/office/drawing/2014/main" id="{4F159EE9-4993-F8EF-670D-B98A4C758580}"/>
              </a:ext>
            </a:extLst>
          </p:cNvPr>
          <p:cNvSpPr/>
          <p:nvPr/>
        </p:nvSpPr>
        <p:spPr>
          <a:xfrm>
            <a:off x="2590159" y="4088177"/>
            <a:ext cx="4444592" cy="381000"/>
          </a:xfrm>
          <a:prstGeom prst="borderCallout1">
            <a:avLst>
              <a:gd name="adj1" fmla="val 56110"/>
              <a:gd name="adj2" fmla="val 100037"/>
              <a:gd name="adj3" fmla="val 55338"/>
              <a:gd name="adj4" fmla="val 112101"/>
            </a:avLst>
          </a:prstGeom>
          <a:noFill/>
          <a:ln w="38100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D32E5A5-78D7-E76C-D760-1EFE178334B1}"/>
              </a:ext>
            </a:extLst>
          </p:cNvPr>
          <p:cNvSpPr/>
          <p:nvPr/>
        </p:nvSpPr>
        <p:spPr>
          <a:xfrm>
            <a:off x="5793412" y="4129631"/>
            <a:ext cx="989715" cy="299162"/>
          </a:xfrm>
          <a:prstGeom prst="roundRect">
            <a:avLst/>
          </a:prstGeom>
          <a:solidFill>
            <a:srgbClr val="3366FF">
              <a:alpha val="2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F848FE8-507E-714C-29F3-BAF4532B7C69}"/>
              </a:ext>
            </a:extLst>
          </p:cNvPr>
          <p:cNvCxnSpPr>
            <a:cxnSpLocks/>
            <a:stCxn id="12" idx="2"/>
          </p:cNvCxnSpPr>
          <p:nvPr/>
        </p:nvCxnSpPr>
        <p:spPr>
          <a:xfrm flipH="1">
            <a:off x="6273540" y="4428793"/>
            <a:ext cx="14730" cy="381000"/>
          </a:xfrm>
          <a:prstGeom prst="straightConnector1">
            <a:avLst/>
          </a:prstGeom>
          <a:ln w="38100">
            <a:solidFill>
              <a:srgbClr val="00519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D539B15-B383-FD0E-8FC1-F97F6A35E1C6}"/>
              </a:ext>
            </a:extLst>
          </p:cNvPr>
          <p:cNvSpPr/>
          <p:nvPr/>
        </p:nvSpPr>
        <p:spPr>
          <a:xfrm>
            <a:off x="5287220" y="2652680"/>
            <a:ext cx="2500795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6ECD7DA-BB1F-EA01-E936-A6B0F4C839C5}"/>
              </a:ext>
            </a:extLst>
          </p:cNvPr>
          <p:cNvSpPr/>
          <p:nvPr/>
        </p:nvSpPr>
        <p:spPr>
          <a:xfrm>
            <a:off x="7624975" y="4236238"/>
            <a:ext cx="1301013" cy="303920"/>
          </a:xfrm>
          <a:prstGeom prst="roundRect">
            <a:avLst/>
          </a:prstGeom>
          <a:solidFill>
            <a:srgbClr val="FAD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Row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CDA4A2B4-01C9-A408-3F39-AFC4AD6B8107}"/>
              </a:ext>
            </a:extLst>
          </p:cNvPr>
          <p:cNvSpPr/>
          <p:nvPr/>
        </p:nvSpPr>
        <p:spPr>
          <a:xfrm>
            <a:off x="5687430" y="4818826"/>
            <a:ext cx="1208183" cy="303920"/>
          </a:xfrm>
          <a:prstGeom prst="roundRect">
            <a:avLst/>
          </a:prstGeom>
          <a:solidFill>
            <a:srgbClr val="1DA8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CellValue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8DDDF27-E7A5-79C9-CCEA-841358B5CAC6}"/>
              </a:ext>
            </a:extLst>
          </p:cNvPr>
          <p:cNvSpPr/>
          <p:nvPr/>
        </p:nvSpPr>
        <p:spPr>
          <a:xfrm>
            <a:off x="8275482" y="3638032"/>
            <a:ext cx="1342149" cy="303920"/>
          </a:xfrm>
          <a:prstGeom prst="roundRect">
            <a:avLst/>
          </a:prstGeom>
          <a:solidFill>
            <a:srgbClr val="1DA8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View</a:t>
            </a:r>
          </a:p>
        </p:txBody>
      </p:sp>
      <p:sp>
        <p:nvSpPr>
          <p:cNvPr id="22" name="Callout: Line 21">
            <a:extLst>
              <a:ext uri="{FF2B5EF4-FFF2-40B4-BE49-F238E27FC236}">
                <a16:creationId xmlns:a16="http://schemas.microsoft.com/office/drawing/2014/main" id="{D0F13830-5F84-0F69-FB63-5B3A9198E889}"/>
              </a:ext>
            </a:extLst>
          </p:cNvPr>
          <p:cNvSpPr/>
          <p:nvPr/>
        </p:nvSpPr>
        <p:spPr>
          <a:xfrm>
            <a:off x="2497331" y="2148079"/>
            <a:ext cx="9260720" cy="3459971"/>
          </a:xfrm>
          <a:prstGeom prst="borderCallout1">
            <a:avLst>
              <a:gd name="adj1" fmla="val -308"/>
              <a:gd name="adj2" fmla="val 53918"/>
              <a:gd name="adj3" fmla="val -25432"/>
              <a:gd name="adj4" fmla="val 56655"/>
            </a:avLst>
          </a:prstGeom>
          <a:noFill/>
          <a:ln w="38100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E39CE9A1-F37A-176F-63D1-F5309554E255}"/>
              </a:ext>
            </a:extLst>
          </p:cNvPr>
          <p:cNvSpPr/>
          <p:nvPr/>
        </p:nvSpPr>
        <p:spPr>
          <a:xfrm>
            <a:off x="7034751" y="962424"/>
            <a:ext cx="969043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2000" b="1">
                <a:solidFill>
                  <a:sysClr val="windowText" lastClr="000000"/>
                </a:solidFill>
              </a:rPr>
              <a:t>List</a:t>
            </a:r>
            <a:endParaRPr lang="en-US" b="1">
              <a:solidFill>
                <a:sysClr val="windowText" lastClr="000000"/>
              </a:solidFill>
            </a:endParaRPr>
          </a:p>
        </p:txBody>
      </p:sp>
      <p:sp>
        <p:nvSpPr>
          <p:cNvPr id="27" name="Callout: Line 26">
            <a:extLst>
              <a:ext uri="{FF2B5EF4-FFF2-40B4-BE49-F238E27FC236}">
                <a16:creationId xmlns:a16="http://schemas.microsoft.com/office/drawing/2014/main" id="{485F1829-DCCF-6C70-30EB-0C681FDF0698}"/>
              </a:ext>
            </a:extLst>
          </p:cNvPr>
          <p:cNvSpPr/>
          <p:nvPr/>
        </p:nvSpPr>
        <p:spPr>
          <a:xfrm>
            <a:off x="2590160" y="2781475"/>
            <a:ext cx="1527436" cy="412306"/>
          </a:xfrm>
          <a:prstGeom prst="borderCallout1">
            <a:avLst>
              <a:gd name="adj1" fmla="val 52869"/>
              <a:gd name="adj2" fmla="val 210"/>
              <a:gd name="adj3" fmla="val 53402"/>
              <a:gd name="adj4" fmla="val -35654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7C7C1D4-6D1E-F816-EE8B-F5640217E125}"/>
              </a:ext>
            </a:extLst>
          </p:cNvPr>
          <p:cNvSpPr txBox="1"/>
          <p:nvPr/>
        </p:nvSpPr>
        <p:spPr>
          <a:xfrm>
            <a:off x="111719" y="2460344"/>
            <a:ext cx="1983583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800">
                <a:solidFill>
                  <a:sysClr val="windowText" lastClr="000000"/>
                </a:solidFill>
              </a:rPr>
              <a:t>List.ListName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.WorkspaceId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.Color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.Icon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FavoriteList.Listid</a:t>
            </a:r>
          </a:p>
        </p:txBody>
      </p:sp>
    </p:spTree>
    <p:extLst>
      <p:ext uri="{BB962C8B-B14F-4D97-AF65-F5344CB8AC3E}">
        <p14:creationId xmlns:p14="http://schemas.microsoft.com/office/powerpoint/2010/main" val="41851012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FCC6408-9846-E487-A58F-6AD01796A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ynamic Colum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F2E77F-C19A-4D44-4E55-DAF0F79B13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7567" y="1342884"/>
            <a:ext cx="5417969" cy="4172231"/>
          </a:xfrm>
          <a:prstGeom prst="rect">
            <a:avLst/>
          </a:prstGeom>
        </p:spPr>
      </p:pic>
      <p:sp>
        <p:nvSpPr>
          <p:cNvPr id="6" name="Callout: Line 5">
            <a:extLst>
              <a:ext uri="{FF2B5EF4-FFF2-40B4-BE49-F238E27FC236}">
                <a16:creationId xmlns:a16="http://schemas.microsoft.com/office/drawing/2014/main" id="{D43171DC-F892-F22E-0971-AF8BDAB18E3D}"/>
              </a:ext>
            </a:extLst>
          </p:cNvPr>
          <p:cNvSpPr/>
          <p:nvPr/>
        </p:nvSpPr>
        <p:spPr>
          <a:xfrm>
            <a:off x="1620418" y="1813455"/>
            <a:ext cx="5268943" cy="2968236"/>
          </a:xfrm>
          <a:prstGeom prst="borderCallout1">
            <a:avLst>
              <a:gd name="adj1" fmla="val 92753"/>
              <a:gd name="adj2" fmla="val 99969"/>
              <a:gd name="adj3" fmla="val 92978"/>
              <a:gd name="adj4" fmla="val 117003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4B8F9F7-5754-C0E7-2D5E-FE0C17E85417}"/>
              </a:ext>
            </a:extLst>
          </p:cNvPr>
          <p:cNvSpPr/>
          <p:nvPr/>
        </p:nvSpPr>
        <p:spPr>
          <a:xfrm>
            <a:off x="4744618" y="1943240"/>
            <a:ext cx="1905000" cy="419100"/>
          </a:xfrm>
          <a:prstGeom prst="roundRect">
            <a:avLst/>
          </a:prstGeom>
          <a:noFill/>
          <a:ln w="38100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0AF8926-4E02-FB2C-C5CD-8BE246602C7B}"/>
              </a:ext>
            </a:extLst>
          </p:cNvPr>
          <p:cNvSpPr/>
          <p:nvPr/>
        </p:nvSpPr>
        <p:spPr>
          <a:xfrm>
            <a:off x="7764044" y="4364813"/>
            <a:ext cx="232410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2DB4C9D-8A55-1523-B29A-56E8B423F7E3}"/>
              </a:ext>
            </a:extLst>
          </p:cNvPr>
          <p:cNvSpPr/>
          <p:nvPr/>
        </p:nvSpPr>
        <p:spPr>
          <a:xfrm>
            <a:off x="7133777" y="1943240"/>
            <a:ext cx="2324100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ystemDataType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E9C02F0-1100-A107-EEA5-7A20F8D8743C}"/>
              </a:ext>
            </a:extLst>
          </p:cNvPr>
          <p:cNvCxnSpPr>
            <a:stCxn id="8" idx="3"/>
            <a:endCxn id="11" idx="1"/>
          </p:cNvCxnSpPr>
          <p:nvPr/>
        </p:nvCxnSpPr>
        <p:spPr>
          <a:xfrm flipV="1">
            <a:off x="6649618" y="2095200"/>
            <a:ext cx="484159" cy="57590"/>
          </a:xfrm>
          <a:prstGeom prst="straightConnector1">
            <a:avLst/>
          </a:prstGeom>
          <a:ln w="19050">
            <a:solidFill>
              <a:srgbClr val="1DA8E7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2D94B8C-507C-5DF3-DB49-4A244A8EFD33}"/>
              </a:ext>
            </a:extLst>
          </p:cNvPr>
          <p:cNvSpPr/>
          <p:nvPr/>
        </p:nvSpPr>
        <p:spPr>
          <a:xfrm>
            <a:off x="4820818" y="2033617"/>
            <a:ext cx="723900" cy="238345"/>
          </a:xfrm>
          <a:prstGeom prst="roundRect">
            <a:avLst/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BBD9EF7-7062-DF2F-E49B-76C06DE1F564}"/>
              </a:ext>
            </a:extLst>
          </p:cNvPr>
          <p:cNvSpPr/>
          <p:nvPr/>
        </p:nvSpPr>
        <p:spPr>
          <a:xfrm>
            <a:off x="2210968" y="2795617"/>
            <a:ext cx="1600200" cy="947848"/>
          </a:xfrm>
          <a:prstGeom prst="roundRect">
            <a:avLst/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2F6C10B-06E5-97C4-9BAD-96AA9C4F588E}"/>
              </a:ext>
            </a:extLst>
          </p:cNvPr>
          <p:cNvSpPr/>
          <p:nvPr/>
        </p:nvSpPr>
        <p:spPr>
          <a:xfrm>
            <a:off x="2333176" y="3972065"/>
            <a:ext cx="1316067" cy="372415"/>
          </a:xfrm>
          <a:prstGeom prst="roundRect">
            <a:avLst/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3AB9A6B-E959-B7F4-BFA5-7C95E81B4E64}"/>
              </a:ext>
            </a:extLst>
          </p:cNvPr>
          <p:cNvCxnSpPr>
            <a:cxnSpLocks/>
          </p:cNvCxnSpPr>
          <p:nvPr/>
        </p:nvCxnSpPr>
        <p:spPr>
          <a:xfrm>
            <a:off x="5575489" y="2152790"/>
            <a:ext cx="1753550" cy="547467"/>
          </a:xfrm>
          <a:prstGeom prst="straightConnector1">
            <a:avLst/>
          </a:prstGeom>
          <a:ln w="19050">
            <a:solidFill>
              <a:srgbClr val="1DA8E7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8115B3FC-8C41-D7A9-8247-9B27F70B656E}"/>
              </a:ext>
            </a:extLst>
          </p:cNvPr>
          <p:cNvSpPr txBox="1"/>
          <p:nvPr/>
        </p:nvSpPr>
        <p:spPr>
          <a:xfrm>
            <a:off x="7284560" y="2540904"/>
            <a:ext cx="3559872" cy="1308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rgbClr val="005194"/>
                </a:solidFill>
              </a:rPr>
              <a:t>SystemDataType.Icon</a:t>
            </a:r>
          </a:p>
          <a:p>
            <a:pPr>
              <a:spcAft>
                <a:spcPts val="600"/>
              </a:spcAft>
            </a:pPr>
            <a:r>
              <a:rPr lang="en-US" sz="1600">
                <a:solidFill>
                  <a:srgbClr val="005194"/>
                </a:solidFill>
              </a:rPr>
              <a:t>SystemDataType. DisplayName</a:t>
            </a:r>
          </a:p>
          <a:p>
            <a:pPr>
              <a:spcAft>
                <a:spcPts val="600"/>
              </a:spcAft>
            </a:pPr>
            <a:r>
              <a:rPr lang="en-US" sz="1600">
                <a:solidFill>
                  <a:srgbClr val="005194"/>
                </a:solidFill>
              </a:rPr>
              <a:t>SystemDataType.CoverImg</a:t>
            </a:r>
          </a:p>
          <a:p>
            <a:pPr>
              <a:spcAft>
                <a:spcPts val="600"/>
              </a:spcAft>
            </a:pPr>
            <a:r>
              <a:rPr lang="en-US" sz="1600">
                <a:solidFill>
                  <a:srgbClr val="005194"/>
                </a:solidFill>
              </a:rPr>
              <a:t>SystemDataType.DataDiscription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432C9F4-3C92-B208-EED3-28B819AB1C97}"/>
              </a:ext>
            </a:extLst>
          </p:cNvPr>
          <p:cNvCxnSpPr>
            <a:cxnSpLocks/>
          </p:cNvCxnSpPr>
          <p:nvPr/>
        </p:nvCxnSpPr>
        <p:spPr>
          <a:xfrm>
            <a:off x="3829743" y="3283884"/>
            <a:ext cx="3454817" cy="84671"/>
          </a:xfrm>
          <a:prstGeom prst="straightConnector1">
            <a:avLst/>
          </a:prstGeom>
          <a:ln w="19050">
            <a:solidFill>
              <a:srgbClr val="1DA8E7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D47F507-4C74-B435-FB29-6B66434467B3}"/>
              </a:ext>
            </a:extLst>
          </p:cNvPr>
          <p:cNvCxnSpPr>
            <a:cxnSpLocks/>
            <a:stCxn id="21" idx="3"/>
          </p:cNvCxnSpPr>
          <p:nvPr/>
        </p:nvCxnSpPr>
        <p:spPr>
          <a:xfrm flipV="1">
            <a:off x="3649243" y="3682419"/>
            <a:ext cx="3635317" cy="475854"/>
          </a:xfrm>
          <a:prstGeom prst="straightConnector1">
            <a:avLst/>
          </a:prstGeom>
          <a:ln w="19050">
            <a:solidFill>
              <a:srgbClr val="1DA8E7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73357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3F475D-06F7-93A5-6EC5-40AA1F121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8492410-0DFA-B1DF-52E3-0107A09F2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Dynamic Colum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5A1CF9-AC4A-C752-2341-FB8A74643F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2652" y="1335746"/>
            <a:ext cx="2953162" cy="5325218"/>
          </a:xfrm>
          <a:prstGeom prst="rect">
            <a:avLst/>
          </a:prstGeom>
        </p:spPr>
      </p:pic>
      <p:sp>
        <p:nvSpPr>
          <p:cNvPr id="9" name="Callout: Line 8">
            <a:extLst>
              <a:ext uri="{FF2B5EF4-FFF2-40B4-BE49-F238E27FC236}">
                <a16:creationId xmlns:a16="http://schemas.microsoft.com/office/drawing/2014/main" id="{CA06D5E9-59BC-F953-F948-927E1B6B9BDF}"/>
              </a:ext>
            </a:extLst>
          </p:cNvPr>
          <p:cNvSpPr/>
          <p:nvPr/>
        </p:nvSpPr>
        <p:spPr>
          <a:xfrm>
            <a:off x="4218046" y="1260626"/>
            <a:ext cx="3189707" cy="4737120"/>
          </a:xfrm>
          <a:prstGeom prst="borderCallout1">
            <a:avLst>
              <a:gd name="adj1" fmla="val 7499"/>
              <a:gd name="adj2" fmla="val 99969"/>
              <a:gd name="adj3" fmla="val 7522"/>
              <a:gd name="adj4" fmla="val 124468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8308A66-84F3-D05E-6F9F-1777EE2B15E6}"/>
              </a:ext>
            </a:extLst>
          </p:cNvPr>
          <p:cNvSpPr/>
          <p:nvPr/>
        </p:nvSpPr>
        <p:spPr>
          <a:xfrm>
            <a:off x="8193776" y="1433097"/>
            <a:ext cx="232410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7C4DDAA5-62A8-A100-B6BE-32EB0DA8F5DC}"/>
              </a:ext>
            </a:extLst>
          </p:cNvPr>
          <p:cNvSpPr/>
          <p:nvPr/>
        </p:nvSpPr>
        <p:spPr>
          <a:xfrm>
            <a:off x="4370447" y="2028446"/>
            <a:ext cx="2953162" cy="666750"/>
          </a:xfrm>
          <a:prstGeom prst="borderCallout1">
            <a:avLst>
              <a:gd name="adj1" fmla="val 51784"/>
              <a:gd name="adj2" fmla="val -339"/>
              <a:gd name="adj3" fmla="val 53236"/>
              <a:gd name="adj4" fmla="val -13900"/>
            </a:avLst>
          </a:prstGeom>
          <a:noFill/>
          <a:ln w="28575">
            <a:solidFill>
              <a:srgbClr val="92D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F238291B-3513-07BE-3764-3FA53A83FADA}"/>
              </a:ext>
            </a:extLst>
          </p:cNvPr>
          <p:cNvSpPr/>
          <p:nvPr/>
        </p:nvSpPr>
        <p:spPr>
          <a:xfrm>
            <a:off x="4370447" y="2721146"/>
            <a:ext cx="2953162" cy="881550"/>
          </a:xfrm>
          <a:prstGeom prst="borderCallout1">
            <a:avLst>
              <a:gd name="adj1" fmla="val 49972"/>
              <a:gd name="adj2" fmla="val -17"/>
              <a:gd name="adj3" fmla="val 48914"/>
              <a:gd name="adj4" fmla="val -13900"/>
            </a:avLst>
          </a:prstGeom>
          <a:noFill/>
          <a:ln w="28575">
            <a:solidFill>
              <a:srgbClr val="92D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4" name="Callout: Line 3">
            <a:extLst>
              <a:ext uri="{FF2B5EF4-FFF2-40B4-BE49-F238E27FC236}">
                <a16:creationId xmlns:a16="http://schemas.microsoft.com/office/drawing/2014/main" id="{651C9063-7EA8-FB19-4F01-3D39F65E3491}"/>
              </a:ext>
            </a:extLst>
          </p:cNvPr>
          <p:cNvSpPr/>
          <p:nvPr/>
        </p:nvSpPr>
        <p:spPr>
          <a:xfrm>
            <a:off x="4372652" y="3730796"/>
            <a:ext cx="2953162" cy="593175"/>
          </a:xfrm>
          <a:prstGeom prst="borderCallout1">
            <a:avLst>
              <a:gd name="adj1" fmla="val 53213"/>
              <a:gd name="adj2" fmla="val 100292"/>
              <a:gd name="adj3" fmla="val 53236"/>
              <a:gd name="adj4" fmla="val 123500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C93FCB6-DB50-46AB-3461-F6ED8E81D261}"/>
              </a:ext>
            </a:extLst>
          </p:cNvPr>
          <p:cNvSpPr/>
          <p:nvPr/>
        </p:nvSpPr>
        <p:spPr>
          <a:xfrm>
            <a:off x="8070602" y="3874550"/>
            <a:ext cx="2324100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ystemDataTyp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22A8FC-FB30-7BC6-D124-DA2D45025B6E}"/>
              </a:ext>
            </a:extLst>
          </p:cNvPr>
          <p:cNvSpPr txBox="1"/>
          <p:nvPr/>
        </p:nvSpPr>
        <p:spPr>
          <a:xfrm>
            <a:off x="297876" y="2192544"/>
            <a:ext cx="36861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rgbClr val="005D39"/>
                </a:solidFill>
              </a:rPr>
              <a:t>ListDynamicColumn.ColumnNa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2A52999-7854-B304-0D6F-617088335784}"/>
              </a:ext>
            </a:extLst>
          </p:cNvPr>
          <p:cNvSpPr txBox="1"/>
          <p:nvPr/>
        </p:nvSpPr>
        <p:spPr>
          <a:xfrm>
            <a:off x="222211" y="2992644"/>
            <a:ext cx="383750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rgbClr val="005D39"/>
                </a:solidFill>
              </a:rPr>
              <a:t>ListDynamicColumn.ColumnDescrip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EC316AE-A50C-B604-D767-74B0ACD2CBB5}"/>
              </a:ext>
            </a:extLst>
          </p:cNvPr>
          <p:cNvSpPr txBox="1"/>
          <p:nvPr/>
        </p:nvSpPr>
        <p:spPr>
          <a:xfrm>
            <a:off x="9193203" y="1768194"/>
            <a:ext cx="235849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n</a:t>
            </a:r>
            <a:endParaRPr lang="en-US" dirty="0" err="1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B7E6083-013D-B28F-B8E6-4CDE063E89DA}"/>
              </a:ext>
            </a:extLst>
          </p:cNvPr>
          <p:cNvSpPr txBox="1"/>
          <p:nvPr/>
        </p:nvSpPr>
        <p:spPr>
          <a:xfrm>
            <a:off x="9154452" y="3426876"/>
            <a:ext cx="235849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1</a:t>
            </a:r>
            <a:endParaRPr lang="en-US" dirty="0" err="1"/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F7ADEEE-34CA-4078-BBE3-BC7C548D38F7}"/>
              </a:ext>
            </a:extLst>
          </p:cNvPr>
          <p:cNvCxnSpPr/>
          <p:nvPr/>
        </p:nvCxnSpPr>
        <p:spPr>
          <a:xfrm>
            <a:off x="9077325" y="1819275"/>
            <a:ext cx="0" cy="1911521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64365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EA6A65C-C867-102A-19F4-16D4D5B3F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Dynamic Colum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64AB9FE-EC16-7994-698D-405C68245D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849" y="942599"/>
            <a:ext cx="3000794" cy="5391902"/>
          </a:xfrm>
          <a:prstGeom prst="rect">
            <a:avLst/>
          </a:prstGeom>
        </p:spPr>
      </p:pic>
      <p:sp>
        <p:nvSpPr>
          <p:cNvPr id="9" name="Callout: Line 8">
            <a:extLst>
              <a:ext uri="{FF2B5EF4-FFF2-40B4-BE49-F238E27FC236}">
                <a16:creationId xmlns:a16="http://schemas.microsoft.com/office/drawing/2014/main" id="{13EADC98-E6F3-CCED-6CA0-0621E196CE0D}"/>
              </a:ext>
            </a:extLst>
          </p:cNvPr>
          <p:cNvSpPr/>
          <p:nvPr/>
        </p:nvSpPr>
        <p:spPr>
          <a:xfrm>
            <a:off x="277393" y="1022879"/>
            <a:ext cx="3189707" cy="5391901"/>
          </a:xfrm>
          <a:prstGeom prst="borderCallout1">
            <a:avLst>
              <a:gd name="adj1" fmla="val 3966"/>
              <a:gd name="adj2" fmla="val 100268"/>
              <a:gd name="adj3" fmla="val 3812"/>
              <a:gd name="adj4" fmla="val 124767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0708882-9EDF-07E9-3C2F-D9E1FD8D981A}"/>
              </a:ext>
            </a:extLst>
          </p:cNvPr>
          <p:cNvSpPr/>
          <p:nvPr/>
        </p:nvSpPr>
        <p:spPr>
          <a:xfrm>
            <a:off x="4338848" y="1022879"/>
            <a:ext cx="232410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E301D0E3-1530-BA65-07DF-6CBF3551A6EF}"/>
              </a:ext>
            </a:extLst>
          </p:cNvPr>
          <p:cNvSpPr/>
          <p:nvPr/>
        </p:nvSpPr>
        <p:spPr>
          <a:xfrm>
            <a:off x="408847" y="1368248"/>
            <a:ext cx="2953162" cy="593175"/>
          </a:xfrm>
          <a:prstGeom prst="borderCallout1">
            <a:avLst>
              <a:gd name="adj1" fmla="val 53213"/>
              <a:gd name="adj2" fmla="val 100292"/>
              <a:gd name="adj3" fmla="val 51631"/>
              <a:gd name="adj4" fmla="val 127693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980C9E9-1045-79B3-94D0-82D67097BCB7}"/>
              </a:ext>
            </a:extLst>
          </p:cNvPr>
          <p:cNvSpPr/>
          <p:nvPr/>
        </p:nvSpPr>
        <p:spPr>
          <a:xfrm>
            <a:off x="4338848" y="1512002"/>
            <a:ext cx="2324100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ystemDataTyp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D5B5ECB-6C18-7064-D795-4999E22AF5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6519" y="1326799"/>
            <a:ext cx="2772162" cy="3391373"/>
          </a:xfrm>
          <a:prstGeom prst="rect">
            <a:avLst/>
          </a:prstGeom>
        </p:spPr>
      </p:pic>
      <p:sp>
        <p:nvSpPr>
          <p:cNvPr id="17" name="Callout: Line 16">
            <a:extLst>
              <a:ext uri="{FF2B5EF4-FFF2-40B4-BE49-F238E27FC236}">
                <a16:creationId xmlns:a16="http://schemas.microsoft.com/office/drawing/2014/main" id="{4A745591-DF72-A3C8-4934-C90A9E26B7E5}"/>
              </a:ext>
            </a:extLst>
          </p:cNvPr>
          <p:cNvSpPr/>
          <p:nvPr/>
        </p:nvSpPr>
        <p:spPr>
          <a:xfrm>
            <a:off x="7896019" y="1415874"/>
            <a:ext cx="2953162" cy="593174"/>
          </a:xfrm>
          <a:prstGeom prst="borderCallout1">
            <a:avLst>
              <a:gd name="adj1" fmla="val 43662"/>
              <a:gd name="adj2" fmla="val 306"/>
              <a:gd name="adj3" fmla="val 42080"/>
              <a:gd name="adj4" fmla="val -39380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Callout: Line 17">
            <a:extLst>
              <a:ext uri="{FF2B5EF4-FFF2-40B4-BE49-F238E27FC236}">
                <a16:creationId xmlns:a16="http://schemas.microsoft.com/office/drawing/2014/main" id="{3AE2181B-0312-3F98-A293-FDFC2B59FD28}"/>
              </a:ext>
            </a:extLst>
          </p:cNvPr>
          <p:cNvSpPr/>
          <p:nvPr/>
        </p:nvSpPr>
        <p:spPr>
          <a:xfrm>
            <a:off x="7896019" y="2079225"/>
            <a:ext cx="2953162" cy="2638947"/>
          </a:xfrm>
          <a:prstGeom prst="borderCallout1">
            <a:avLst>
              <a:gd name="adj1" fmla="val 83727"/>
              <a:gd name="adj2" fmla="val 306"/>
              <a:gd name="adj3" fmla="val 83949"/>
              <a:gd name="adj4" fmla="val -48411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E66ABC58-57F1-DCA6-9EC9-A74E4128B739}"/>
              </a:ext>
            </a:extLst>
          </p:cNvPr>
          <p:cNvSpPr/>
          <p:nvPr/>
        </p:nvSpPr>
        <p:spPr>
          <a:xfrm>
            <a:off x="408847" y="2079224"/>
            <a:ext cx="2953162" cy="3540526"/>
          </a:xfrm>
          <a:prstGeom prst="borderCallout1">
            <a:avLst>
              <a:gd name="adj1" fmla="val 63400"/>
              <a:gd name="adj2" fmla="val 100937"/>
              <a:gd name="adj3" fmla="val 63800"/>
              <a:gd name="adj4" fmla="val 149302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FD6D465-E14C-20AA-9515-532A358347D0}"/>
              </a:ext>
            </a:extLst>
          </p:cNvPr>
          <p:cNvSpPr/>
          <p:nvPr/>
        </p:nvSpPr>
        <p:spPr>
          <a:xfrm>
            <a:off x="4790671" y="4172830"/>
            <a:ext cx="1535908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KeySetting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51103AE-3EDE-876A-47CE-A36861E580E2}"/>
              </a:ext>
            </a:extLst>
          </p:cNvPr>
          <p:cNvSpPr/>
          <p:nvPr/>
        </p:nvSpPr>
        <p:spPr>
          <a:xfrm>
            <a:off x="4622486" y="2826866"/>
            <a:ext cx="1872277" cy="3039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DataSettingKe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ED546C6-AAE2-0987-76DC-7A02EE4A0564}"/>
              </a:ext>
            </a:extLst>
          </p:cNvPr>
          <p:cNvCxnSpPr/>
          <p:nvPr/>
        </p:nvCxnSpPr>
        <p:spPr>
          <a:xfrm>
            <a:off x="5491373" y="1815922"/>
            <a:ext cx="0" cy="101094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8680F96-ACDB-FD31-C996-12681D755E00}"/>
              </a:ext>
            </a:extLst>
          </p:cNvPr>
          <p:cNvCxnSpPr/>
          <p:nvPr/>
        </p:nvCxnSpPr>
        <p:spPr>
          <a:xfrm>
            <a:off x="5491373" y="3133078"/>
            <a:ext cx="0" cy="101094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18495A6E-0723-CB1C-0F97-603A6C8CFEB0}"/>
              </a:ext>
            </a:extLst>
          </p:cNvPr>
          <p:cNvSpPr txBox="1"/>
          <p:nvPr/>
        </p:nvSpPr>
        <p:spPr>
          <a:xfrm>
            <a:off x="5579374" y="1797182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1</a:t>
            </a:r>
            <a:endParaRPr lang="en-US" dirty="0" err="1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D2F7CBD-4D5F-D422-F09A-94F4B0F7D33E}"/>
              </a:ext>
            </a:extLst>
          </p:cNvPr>
          <p:cNvSpPr txBox="1"/>
          <p:nvPr/>
        </p:nvSpPr>
        <p:spPr>
          <a:xfrm>
            <a:off x="5584339" y="3837810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1</a:t>
            </a:r>
            <a:endParaRPr lang="en-US" dirty="0" err="1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29A80FC-C818-7F56-7289-7C9EA63FFBD0}"/>
              </a:ext>
            </a:extLst>
          </p:cNvPr>
          <p:cNvSpPr txBox="1"/>
          <p:nvPr/>
        </p:nvSpPr>
        <p:spPr>
          <a:xfrm>
            <a:off x="5584512" y="3113063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n</a:t>
            </a:r>
            <a:endParaRPr lang="en-US" dirty="0" err="1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03FDD3D-9EF5-E035-C0EC-4B41218D5F31}"/>
              </a:ext>
            </a:extLst>
          </p:cNvPr>
          <p:cNvSpPr txBox="1"/>
          <p:nvPr/>
        </p:nvSpPr>
        <p:spPr>
          <a:xfrm>
            <a:off x="5584339" y="2470604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n</a:t>
            </a:r>
            <a:endParaRPr lang="en-US" dirty="0" err="1"/>
          </a:p>
        </p:txBody>
      </p:sp>
      <p:sp>
        <p:nvSpPr>
          <p:cNvPr id="30" name="Callout: Line 29">
            <a:extLst>
              <a:ext uri="{FF2B5EF4-FFF2-40B4-BE49-F238E27FC236}">
                <a16:creationId xmlns:a16="http://schemas.microsoft.com/office/drawing/2014/main" id="{7E99F476-4F0F-F078-E810-BEE69715AAAA}"/>
              </a:ext>
            </a:extLst>
          </p:cNvPr>
          <p:cNvSpPr/>
          <p:nvPr/>
        </p:nvSpPr>
        <p:spPr>
          <a:xfrm>
            <a:off x="7986519" y="3687358"/>
            <a:ext cx="2768979" cy="579842"/>
          </a:xfrm>
          <a:prstGeom prst="borderCallout1">
            <a:avLst>
              <a:gd name="adj1" fmla="val 97755"/>
              <a:gd name="adj2" fmla="val 2920"/>
              <a:gd name="adj3" fmla="val 236151"/>
              <a:gd name="adj4" fmla="val 2332"/>
            </a:avLst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9CB279C-C8F3-D5B2-2E2E-D5C0626CBAB6}"/>
              </a:ext>
            </a:extLst>
          </p:cNvPr>
          <p:cNvSpPr txBox="1"/>
          <p:nvPr/>
        </p:nvSpPr>
        <p:spPr>
          <a:xfrm>
            <a:off x="6968679" y="5010256"/>
            <a:ext cx="5156646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KeySetting.KeyName</a:t>
            </a:r>
          </a:p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KeySetting.ValueType (e.x: Text. Number, Boolean,…)</a:t>
            </a:r>
          </a:p>
        </p:txBody>
      </p:sp>
    </p:spTree>
    <p:extLst>
      <p:ext uri="{BB962C8B-B14F-4D97-AF65-F5344CB8AC3E}">
        <p14:creationId xmlns:p14="http://schemas.microsoft.com/office/powerpoint/2010/main" val="10711636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194601-3E3C-9D84-971B-C062627ADB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78A1020-ECF9-2A8C-D6B9-4798C31A74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302551" cy="1098000"/>
          </a:xfrm>
        </p:spPr>
        <p:txBody>
          <a:bodyPr/>
          <a:lstStyle/>
          <a:p>
            <a:r>
              <a:rPr lang="en-US"/>
              <a:t>DataTypeSettingKey</a:t>
            </a:r>
          </a:p>
        </p:txBody>
      </p:sp>
      <p:sp>
        <p:nvSpPr>
          <p:cNvPr id="9" name="Callout: Line 8">
            <a:extLst>
              <a:ext uri="{FF2B5EF4-FFF2-40B4-BE49-F238E27FC236}">
                <a16:creationId xmlns:a16="http://schemas.microsoft.com/office/drawing/2014/main" id="{FE17FC91-2B99-1FF3-D528-9F9DE807C0D0}"/>
              </a:ext>
            </a:extLst>
          </p:cNvPr>
          <p:cNvSpPr/>
          <p:nvPr/>
        </p:nvSpPr>
        <p:spPr>
          <a:xfrm>
            <a:off x="2038112" y="1140861"/>
            <a:ext cx="3638550" cy="5391901"/>
          </a:xfrm>
          <a:prstGeom prst="borderCallout1">
            <a:avLst>
              <a:gd name="adj1" fmla="val 3966"/>
              <a:gd name="adj2" fmla="val 100268"/>
              <a:gd name="adj3" fmla="val 3989"/>
              <a:gd name="adj4" fmla="val 119008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1F7FC6-AB0C-5898-6825-38979B460B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4100" y="1238585"/>
            <a:ext cx="2943636" cy="4363059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DFE1755-CA03-0027-AC70-2FADD6166E49}"/>
              </a:ext>
            </a:extLst>
          </p:cNvPr>
          <p:cNvSpPr/>
          <p:nvPr/>
        </p:nvSpPr>
        <p:spPr>
          <a:xfrm>
            <a:off x="6505783" y="1214825"/>
            <a:ext cx="232410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D995BBD9-75DF-6126-3D50-354419186ECF}"/>
              </a:ext>
            </a:extLst>
          </p:cNvPr>
          <p:cNvSpPr/>
          <p:nvPr/>
        </p:nvSpPr>
        <p:spPr>
          <a:xfrm>
            <a:off x="2314574" y="3557668"/>
            <a:ext cx="2953162" cy="593175"/>
          </a:xfrm>
          <a:prstGeom prst="borderCallout1">
            <a:avLst>
              <a:gd name="adj1" fmla="val 53213"/>
              <a:gd name="adj2" fmla="val 100292"/>
              <a:gd name="adj3" fmla="val 51631"/>
              <a:gd name="adj4" fmla="val 123500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8B91124B-1F20-663C-7D27-0C56555A399F}"/>
              </a:ext>
            </a:extLst>
          </p:cNvPr>
          <p:cNvSpPr/>
          <p:nvPr/>
        </p:nvSpPr>
        <p:spPr>
          <a:xfrm>
            <a:off x="2315353" y="4187631"/>
            <a:ext cx="2943636" cy="622629"/>
          </a:xfrm>
          <a:prstGeom prst="borderCallout1">
            <a:avLst>
              <a:gd name="adj1" fmla="val 63400"/>
              <a:gd name="adj2" fmla="val 100937"/>
              <a:gd name="adj3" fmla="val 62484"/>
              <a:gd name="adj4" fmla="val 124744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4DAEA6F-52A3-A7D5-A03E-3AE102060B9D}"/>
              </a:ext>
            </a:extLst>
          </p:cNvPr>
          <p:cNvSpPr txBox="1"/>
          <p:nvPr/>
        </p:nvSpPr>
        <p:spPr>
          <a:xfrm>
            <a:off x="7520398" y="2012888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en-US" dirty="0" err="1"/>
          </a:p>
        </p:txBody>
      </p:sp>
      <p:sp>
        <p:nvSpPr>
          <p:cNvPr id="5" name="Callout: Line 4">
            <a:extLst>
              <a:ext uri="{FF2B5EF4-FFF2-40B4-BE49-F238E27FC236}">
                <a16:creationId xmlns:a16="http://schemas.microsoft.com/office/drawing/2014/main" id="{30E8C8BA-F9BF-1AEE-18BC-25401DEC3EB8}"/>
              </a:ext>
            </a:extLst>
          </p:cNvPr>
          <p:cNvSpPr/>
          <p:nvPr/>
        </p:nvSpPr>
        <p:spPr>
          <a:xfrm>
            <a:off x="2145535" y="3463731"/>
            <a:ext cx="3283271" cy="1666875"/>
          </a:xfrm>
          <a:prstGeom prst="borderCallout1">
            <a:avLst>
              <a:gd name="adj1" fmla="val 91378"/>
              <a:gd name="adj2" fmla="val 99777"/>
              <a:gd name="adj3" fmla="val 110990"/>
              <a:gd name="adj4" fmla="val 121039"/>
            </a:avLst>
          </a:prstGeom>
          <a:noFill/>
          <a:ln w="28575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4243570-AFF8-826D-24EF-DE01CE90288C}"/>
              </a:ext>
            </a:extLst>
          </p:cNvPr>
          <p:cNvSpPr/>
          <p:nvPr/>
        </p:nvSpPr>
        <p:spPr>
          <a:xfrm>
            <a:off x="6277834" y="5177302"/>
            <a:ext cx="1872277" cy="3039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DataSettingKey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998B2D92-B7DE-CDAF-3C9B-77FA2292E49F}"/>
              </a:ext>
            </a:extLst>
          </p:cNvPr>
          <p:cNvSpPr/>
          <p:nvPr/>
        </p:nvSpPr>
        <p:spPr>
          <a:xfrm>
            <a:off x="2409845" y="4522990"/>
            <a:ext cx="998029" cy="207008"/>
          </a:xfrm>
          <a:prstGeom prst="borderCallout1">
            <a:avLst>
              <a:gd name="adj1" fmla="val 109808"/>
              <a:gd name="adj2" fmla="val 82307"/>
              <a:gd name="adj3" fmla="val 522510"/>
              <a:gd name="adj4" fmla="val 81780"/>
            </a:avLst>
          </a:prstGeom>
          <a:noFill/>
          <a:ln w="28575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839FB7A-C9F0-CD05-50B2-938416B40789}"/>
              </a:ext>
            </a:extLst>
          </p:cNvPr>
          <p:cNvSpPr txBox="1"/>
          <p:nvPr/>
        </p:nvSpPr>
        <p:spPr>
          <a:xfrm>
            <a:off x="2183076" y="5566138"/>
            <a:ext cx="294363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solidFill>
                  <a:sysClr val="windowText" lastClr="000000"/>
                </a:solidFill>
              </a:rPr>
              <a:t>DataSettingKey.</a:t>
            </a:r>
            <a:r>
              <a:rPr lang="en-US" sz="1600"/>
              <a:t> KeyValue</a:t>
            </a:r>
            <a:endParaRPr lang="en-US" sz="1600">
              <a:solidFill>
                <a:sysClr val="windowText" lastClr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11EC157-7509-BB3D-6DFD-E76178D978A4}"/>
              </a:ext>
            </a:extLst>
          </p:cNvPr>
          <p:cNvSpPr txBox="1"/>
          <p:nvPr/>
        </p:nvSpPr>
        <p:spPr>
          <a:xfrm>
            <a:off x="6096000" y="3667534"/>
            <a:ext cx="34480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solidFill>
                  <a:sysClr val="windowText" lastClr="000000"/>
                </a:solidFill>
              </a:rPr>
              <a:t>DataSettingKey.SystemDataTyp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7778952-95C0-5397-680D-BA730C302713}"/>
              </a:ext>
            </a:extLst>
          </p:cNvPr>
          <p:cNvSpPr txBox="1"/>
          <p:nvPr/>
        </p:nvSpPr>
        <p:spPr>
          <a:xfrm>
            <a:off x="6096000" y="4391444"/>
            <a:ext cx="34480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solidFill>
                  <a:sysClr val="windowText" lastClr="000000"/>
                </a:solidFill>
              </a:rPr>
              <a:t>DataSettingKey.KeySetting</a:t>
            </a:r>
          </a:p>
        </p:txBody>
      </p:sp>
    </p:spTree>
    <p:extLst>
      <p:ext uri="{BB962C8B-B14F-4D97-AF65-F5344CB8AC3E}">
        <p14:creationId xmlns:p14="http://schemas.microsoft.com/office/powerpoint/2010/main" val="42231685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8843A9-8015-627C-CA17-146A1BB2BC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79E9E1E-4A24-C6F2-9A89-FF4B0AB3C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197901" cy="109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9169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Presentation on MS Lists Functionalities</a:t>
            </a:r>
            <a:endParaRPr lang="en-GB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464F365-71BD-E1A7-9CDE-267207911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Colum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E7CB43-8BEF-8411-12A7-AF1CFE4CF1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429" y="2295242"/>
            <a:ext cx="4716454" cy="3600733"/>
          </a:xfrm>
          <a:prstGeom prst="rect">
            <a:avLst/>
          </a:prstGeom>
        </p:spPr>
      </p:pic>
      <p:sp>
        <p:nvSpPr>
          <p:cNvPr id="7" name="Callout: Line 6">
            <a:extLst>
              <a:ext uri="{FF2B5EF4-FFF2-40B4-BE49-F238E27FC236}">
                <a16:creationId xmlns:a16="http://schemas.microsoft.com/office/drawing/2014/main" id="{7C96CA48-B8E8-ECD6-036E-7F067F4343B5}"/>
              </a:ext>
            </a:extLst>
          </p:cNvPr>
          <p:cNvSpPr/>
          <p:nvPr/>
        </p:nvSpPr>
        <p:spPr>
          <a:xfrm>
            <a:off x="431999" y="5369544"/>
            <a:ext cx="1863526" cy="412306"/>
          </a:xfrm>
          <a:prstGeom prst="borderCallout1">
            <a:avLst>
              <a:gd name="adj1" fmla="val -265"/>
              <a:gd name="adj2" fmla="val 97324"/>
              <a:gd name="adj3" fmla="val -89828"/>
              <a:gd name="adj4" fmla="val 433051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1C4FC9B-9C99-FEFE-761D-495A85128B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19913" y="1098000"/>
            <a:ext cx="2848373" cy="5306165"/>
          </a:xfrm>
          <a:prstGeom prst="rect">
            <a:avLst/>
          </a:prstGeom>
          <a:ln>
            <a:solidFill>
              <a:srgbClr val="00B050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20D34B6-0853-D4B7-7933-AAC53639D487}"/>
              </a:ext>
            </a:extLst>
          </p:cNvPr>
          <p:cNvSpPr txBox="1"/>
          <p:nvPr/>
        </p:nvSpPr>
        <p:spPr>
          <a:xfrm>
            <a:off x="304429" y="1247017"/>
            <a:ext cx="71913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Each list will have default columns based on system columns, and these columns can be hidden depending on the view.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2E0F64F8-BFAC-BF0E-DCA4-1F5287A1B59A}"/>
              </a:ext>
            </a:extLst>
          </p:cNvPr>
          <p:cNvSpPr/>
          <p:nvPr/>
        </p:nvSpPr>
        <p:spPr>
          <a:xfrm>
            <a:off x="8834239" y="3036795"/>
            <a:ext cx="290711" cy="278782"/>
          </a:xfrm>
          <a:prstGeom prst="borderCallout1">
            <a:avLst>
              <a:gd name="adj1" fmla="val 57489"/>
              <a:gd name="adj2" fmla="val 210"/>
              <a:gd name="adj3" fmla="val 117699"/>
              <a:gd name="adj4" fmla="val -282348"/>
            </a:avLst>
          </a:prstGeom>
          <a:noFill/>
          <a:ln w="19050">
            <a:solidFill>
              <a:srgbClr val="005194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324D83-125C-47AF-77EA-A04DBE23C49C}"/>
              </a:ext>
            </a:extLst>
          </p:cNvPr>
          <p:cNvSpPr txBox="1"/>
          <p:nvPr/>
        </p:nvSpPr>
        <p:spPr>
          <a:xfrm>
            <a:off x="5612425" y="3306890"/>
            <a:ext cx="2098468" cy="104412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0070C0"/>
                </a:solidFill>
              </a:rPr>
              <a:t>ListDynamicColumn.Name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337D61"/>
                </a:solidFill>
              </a:rPr>
              <a:t>ListViewColumn.IsVisible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337D61"/>
                </a:solidFill>
              </a:rPr>
              <a:t>ListViewColumn. DisplayOrder</a:t>
            </a:r>
            <a:endParaRPr lang="en-US" sz="1400" dirty="0" err="1">
              <a:solidFill>
                <a:srgbClr val="337D61"/>
              </a:solidFill>
            </a:endParaRP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59E971D1-92AC-0475-AA55-77B984B37533}"/>
              </a:ext>
            </a:extLst>
          </p:cNvPr>
          <p:cNvSpPr/>
          <p:nvPr/>
        </p:nvSpPr>
        <p:spPr>
          <a:xfrm>
            <a:off x="8514954" y="1098000"/>
            <a:ext cx="2848372" cy="5306165"/>
          </a:xfrm>
          <a:prstGeom prst="borderCallout1">
            <a:avLst>
              <a:gd name="adj1" fmla="val 17027"/>
              <a:gd name="adj2" fmla="val -191"/>
              <a:gd name="adj3" fmla="val 17006"/>
              <a:gd name="adj4" fmla="val -16663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6" name="Callout: Line 15">
            <a:extLst>
              <a:ext uri="{FF2B5EF4-FFF2-40B4-BE49-F238E27FC236}">
                <a16:creationId xmlns:a16="http://schemas.microsoft.com/office/drawing/2014/main" id="{F290BDBC-853F-696E-0206-607CB448C1D7}"/>
              </a:ext>
            </a:extLst>
          </p:cNvPr>
          <p:cNvSpPr/>
          <p:nvPr/>
        </p:nvSpPr>
        <p:spPr>
          <a:xfrm>
            <a:off x="10544175" y="3351960"/>
            <a:ext cx="660789" cy="278782"/>
          </a:xfrm>
          <a:prstGeom prst="borderCallout1">
            <a:avLst>
              <a:gd name="adj1" fmla="val 101905"/>
              <a:gd name="adj2" fmla="val 210"/>
              <a:gd name="adj3" fmla="val 257781"/>
              <a:gd name="adj4" fmla="val -338838"/>
            </a:avLst>
          </a:prstGeom>
          <a:noFill/>
          <a:ln w="1905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1A0B635F-74E7-A0EC-550C-457C78214AD7}"/>
              </a:ext>
            </a:extLst>
          </p:cNvPr>
          <p:cNvSpPr/>
          <p:nvPr/>
        </p:nvSpPr>
        <p:spPr>
          <a:xfrm>
            <a:off x="8572104" y="3695700"/>
            <a:ext cx="262136" cy="232874"/>
          </a:xfrm>
          <a:prstGeom prst="borderCallout1">
            <a:avLst>
              <a:gd name="adj1" fmla="val 28040"/>
              <a:gd name="adj2" fmla="val 4570"/>
              <a:gd name="adj3" fmla="val 31156"/>
              <a:gd name="adj4" fmla="val -258300"/>
            </a:avLst>
          </a:prstGeom>
          <a:noFill/>
          <a:ln w="1905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ADD2C0F3-B386-72F8-DF70-5211216CA2DA}"/>
              </a:ext>
            </a:extLst>
          </p:cNvPr>
          <p:cNvSpPr/>
          <p:nvPr/>
        </p:nvSpPr>
        <p:spPr>
          <a:xfrm>
            <a:off x="5906911" y="1942335"/>
            <a:ext cx="2098468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ViewColumn</a:t>
            </a:r>
          </a:p>
        </p:txBody>
      </p:sp>
    </p:spTree>
    <p:extLst>
      <p:ext uri="{BB962C8B-B14F-4D97-AF65-F5344CB8AC3E}">
        <p14:creationId xmlns:p14="http://schemas.microsoft.com/office/powerpoint/2010/main" val="369426897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86DA6-C8B0-C5C4-F8D5-75EA773E8B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34E7FB5-540E-7BB7-2F21-809ABB327FE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814" t="14163" r="-5814" b="11567"/>
          <a:stretch>
            <a:fillRect/>
          </a:stretch>
        </p:blipFill>
        <p:spPr>
          <a:xfrm>
            <a:off x="0" y="1098300"/>
            <a:ext cx="12192000" cy="57594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A16EFF65-BED0-97FB-2976-DB9AFB262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Template View &amp; Template Column</a:t>
            </a:r>
          </a:p>
        </p:txBody>
      </p:sp>
    </p:spTree>
    <p:extLst>
      <p:ext uri="{BB962C8B-B14F-4D97-AF65-F5344CB8AC3E}">
        <p14:creationId xmlns:p14="http://schemas.microsoft.com/office/powerpoint/2010/main" val="256287978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BEFC20-957F-E597-13A6-F543A870A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9D86470-0489-106E-14C9-D4696E677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Template Entities</a:t>
            </a:r>
          </a:p>
        </p:txBody>
      </p:sp>
      <p:pic>
        <p:nvPicPr>
          <p:cNvPr id="15" name="Picture Placeholder 14" descr="A diagram of a computer&#10;&#10;AI-generated content may be incorrect.">
            <a:extLst>
              <a:ext uri="{FF2B5EF4-FFF2-40B4-BE49-F238E27FC236}">
                <a16:creationId xmlns:a16="http://schemas.microsoft.com/office/drawing/2014/main" id="{48EFA83C-8081-CC55-481B-4BB20E5AAD9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4"/>
          <a:stretch>
            <a:fillRect/>
          </a:stretch>
        </p:blipFill>
        <p:spPr>
          <a:xfrm>
            <a:off x="431998" y="1098000"/>
            <a:ext cx="11328003" cy="4077412"/>
          </a:xfrm>
        </p:spPr>
      </p:pic>
    </p:spTree>
    <p:extLst>
      <p:ext uri="{BB962C8B-B14F-4D97-AF65-F5344CB8AC3E}">
        <p14:creationId xmlns:p14="http://schemas.microsoft.com/office/powerpoint/2010/main" val="367894853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50EF38-376F-1BD6-5CAC-C19E1A23E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BCDE327-815A-7899-3890-2C397D9CA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Management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3945676-F6C4-7CD7-F98C-94A0F487CCC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8"/>
          <a:stretch>
            <a:fillRect/>
          </a:stretch>
        </p:blipFill>
        <p:spPr>
          <a:xfrm>
            <a:off x="431998" y="1098000"/>
            <a:ext cx="11328003" cy="5351812"/>
          </a:xfrm>
        </p:spPr>
      </p:pic>
    </p:spTree>
    <p:extLst>
      <p:ext uri="{BB962C8B-B14F-4D97-AF65-F5344CB8AC3E}">
        <p14:creationId xmlns:p14="http://schemas.microsoft.com/office/powerpoint/2010/main" val="206540983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74AE94-9C99-2013-F9F0-3E2755DD8A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35C2F91-A801-434C-A0DF-099E4FFF5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Row Detail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639445B-7E5C-1C02-5061-D619D35E510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1" t="21596" r="2142" b="5607"/>
          <a:stretch>
            <a:fillRect/>
          </a:stretch>
        </p:blipFill>
        <p:spPr>
          <a:xfrm>
            <a:off x="432000" y="1098000"/>
            <a:ext cx="11328002" cy="4858893"/>
          </a:xfrm>
        </p:spPr>
      </p:pic>
    </p:spTree>
    <p:extLst>
      <p:ext uri="{BB962C8B-B14F-4D97-AF65-F5344CB8AC3E}">
        <p14:creationId xmlns:p14="http://schemas.microsoft.com/office/powerpoint/2010/main" val="384995395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5EF8A1-492E-D225-2B6B-B6D529154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F118052-DF54-D4A4-9B78-FE0346D9E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Column</a:t>
            </a:r>
          </a:p>
        </p:txBody>
      </p:sp>
      <p:pic>
        <p:nvPicPr>
          <p:cNvPr id="11" name="Picture Placeholder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5D913B1-935B-382A-D64F-8C493FA4D37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7121365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041D4A-5197-4EE0-99C6-D16E6E339D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61D64CC-BB0C-D2E7-5CB6-549EA6FE5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Entities</a:t>
            </a:r>
          </a:p>
        </p:txBody>
      </p:sp>
      <p:pic>
        <p:nvPicPr>
          <p:cNvPr id="10" name="Picture Placeholder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C77D46F-883A-4E43-C570-DBE431B0FE4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4"/>
          <a:stretch>
            <a:fillRect/>
          </a:stretch>
        </p:blipFill>
        <p:spPr>
          <a:xfrm>
            <a:off x="431999" y="1098001"/>
            <a:ext cx="11252002" cy="4090242"/>
          </a:xfrm>
        </p:spPr>
      </p:pic>
    </p:spTree>
    <p:extLst>
      <p:ext uri="{BB962C8B-B14F-4D97-AF65-F5344CB8AC3E}">
        <p14:creationId xmlns:p14="http://schemas.microsoft.com/office/powerpoint/2010/main" val="221947597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6E733E-D767-3AC2-04A7-69E5FD974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E9C9-9C71-D595-387F-F8C47AC84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Column Setting</a:t>
            </a:r>
          </a:p>
        </p:txBody>
      </p:sp>
      <p:pic>
        <p:nvPicPr>
          <p:cNvPr id="11" name="Picture Placeholder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973A998-350F-4FF5-0F36-2B884A7F75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8590515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F651FE-27B2-BD9A-75FF-96FAB6CC5E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045AC86-4383-E46B-9025-7140C3927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Column Setting Entities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0B1A061-7F46-8518-F702-6C65407587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-184" b="566"/>
          <a:stretch>
            <a:fillRect/>
          </a:stretch>
        </p:blipFill>
        <p:spPr>
          <a:xfrm>
            <a:off x="431998" y="1098000"/>
            <a:ext cx="11328003" cy="4657298"/>
          </a:xfrm>
        </p:spPr>
      </p:pic>
    </p:spTree>
    <p:extLst>
      <p:ext uri="{BB962C8B-B14F-4D97-AF65-F5344CB8AC3E}">
        <p14:creationId xmlns:p14="http://schemas.microsoft.com/office/powerpoint/2010/main" val="167307642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A3CAC2C-A674-06FD-06E8-34044DF7F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 colum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8A1BE0-430C-4ACB-EE9F-27F5035E64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000" y="1380882"/>
            <a:ext cx="6111676" cy="44942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278BB1D-2985-1E22-7B92-B1DB289AD6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2283" y="937968"/>
            <a:ext cx="3227680" cy="563667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FC74CA1-BBBE-0D58-393A-0A6E47E0AF41}"/>
              </a:ext>
            </a:extLst>
          </p:cNvPr>
          <p:cNvSpPr/>
          <p:nvPr/>
        </p:nvSpPr>
        <p:spPr>
          <a:xfrm>
            <a:off x="942975" y="5043488"/>
            <a:ext cx="1800225" cy="433630"/>
          </a:xfrm>
          <a:prstGeom prst="rect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3809859-C1A4-D2D7-7EFC-2C6D1AC0F786}"/>
              </a:ext>
            </a:extLst>
          </p:cNvPr>
          <p:cNvCxnSpPr>
            <a:cxnSpLocks/>
            <a:stCxn id="8" idx="3"/>
            <a:endCxn id="11" idx="1"/>
          </p:cNvCxnSpPr>
          <p:nvPr/>
        </p:nvCxnSpPr>
        <p:spPr>
          <a:xfrm flipV="1">
            <a:off x="2743200" y="4150519"/>
            <a:ext cx="6057900" cy="1109784"/>
          </a:xfrm>
          <a:prstGeom prst="straightConnector1">
            <a:avLst/>
          </a:prstGeom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999F0C86-DABF-965A-E7F4-A53E4CB2F99C}"/>
              </a:ext>
            </a:extLst>
          </p:cNvPr>
          <p:cNvSpPr/>
          <p:nvPr/>
        </p:nvSpPr>
        <p:spPr>
          <a:xfrm>
            <a:off x="8801100" y="2271713"/>
            <a:ext cx="1985963" cy="375761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7E4BD6-921A-4F98-D757-3F6779647252}"/>
              </a:ext>
            </a:extLst>
          </p:cNvPr>
          <p:cNvSpPr txBox="1"/>
          <p:nvPr/>
        </p:nvSpPr>
        <p:spPr>
          <a:xfrm>
            <a:off x="6886576" y="3756306"/>
            <a:ext cx="1914524" cy="4572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b="1">
                <a:solidFill>
                  <a:srgbClr val="FF0000"/>
                </a:solidFill>
              </a:rPr>
              <a:t>System columns</a:t>
            </a:r>
            <a:endParaRPr lang="en-US" b="1" err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3772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555665"/>
            <a:ext cx="5232000" cy="4896000"/>
          </a:xfrm>
        </p:spPr>
        <p:txBody>
          <a:bodyPr/>
          <a:lstStyle/>
          <a:p>
            <a:r>
              <a:rPr lang="en-US"/>
              <a:t>Introduction</a:t>
            </a:r>
          </a:p>
          <a:p>
            <a:r>
              <a:rPr lang="en-US"/>
              <a:t>Key Functionalities</a:t>
            </a:r>
          </a:p>
          <a:p>
            <a:r>
              <a:rPr lang="en-US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C78D617-A8B5-5AF6-7F93-416FD9F8DF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 Column example dat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E6FCCD9-C62F-4126-75DB-AF9550BB5E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452" y="1398947"/>
            <a:ext cx="3619015" cy="205275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6C3B1CF-8A3A-DDFD-6D32-EE0AA3E89F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2353" y="1372663"/>
            <a:ext cx="3225754" cy="22277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F7DF769-56F8-1282-844D-44B006008B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452" y="3752647"/>
            <a:ext cx="6764588" cy="187662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985840F-C99C-9BBD-D1EB-44C186C0D1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42617" y="1398947"/>
            <a:ext cx="4567983" cy="222778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FA77631-40A3-8838-CDE6-A95CFE3492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18107" y="3752647"/>
            <a:ext cx="4315427" cy="1819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75111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C49D99-2A46-C6AF-B699-CF9A8792A5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32BAC9-8B57-E94F-A978-71B08D9ECB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ynamic Column example dat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27F905F-3826-3F22-4605-5C6DCA3183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452" y="1398947"/>
            <a:ext cx="3619015" cy="205275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AA4B92C-34FB-8F54-4B78-264AC11686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2353" y="1372663"/>
            <a:ext cx="3225754" cy="222778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AB69E9E-69D1-972C-3B25-94243024B0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42617" y="1398947"/>
            <a:ext cx="4567983" cy="222778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D7D61B9-4D88-2C32-6403-303CE24863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451" y="3875112"/>
            <a:ext cx="6652973" cy="14256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347349F-B253-F130-83E5-3AA06F25B7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41655" y="3600450"/>
            <a:ext cx="5073893" cy="2007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60064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88BCDD3F-C285-8564-2E0C-B5016B707E3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869" b="869"/>
          <a:stretch/>
        </p:blipFill>
        <p:spPr>
          <a:prstGeom prst="rect">
            <a:avLst/>
          </a:prstGeom>
          <a:solidFill>
            <a:srgbClr val="FFFFFF">
              <a:lumMod val="95000"/>
            </a:srgbClr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7E93254-B526-C37E-5A96-CFD288E49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mat View</a:t>
            </a:r>
          </a:p>
        </p:txBody>
      </p:sp>
    </p:spTree>
    <p:extLst>
      <p:ext uri="{BB962C8B-B14F-4D97-AF65-F5344CB8AC3E}">
        <p14:creationId xmlns:p14="http://schemas.microsoft.com/office/powerpoint/2010/main" val="29977135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98B3D6-0D90-33B9-E52B-34E77495DC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EF6148-A32C-DC2D-8887-503343387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mat View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16E4DBD-7233-9237-30AF-569C003E73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8211" y="1221825"/>
            <a:ext cx="2571750" cy="52768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8BEFBAA-F817-DF76-C85F-95F679956B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2041" y="1345650"/>
            <a:ext cx="252412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20777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CBC88F4-F4BB-ADB7-0F34-DF90406B3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mat Colum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6DB5ADF-296C-EB09-C199-E2C59615E1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9672" y="1242810"/>
            <a:ext cx="2752725" cy="52673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F79D1D4-770F-A886-5460-52ACF9698B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7874" y="1271384"/>
            <a:ext cx="2524125" cy="521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09532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0ABCF3-8133-6283-0B32-0AA491A00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5D024FB-41DA-AF68-5E05-C4A9625A4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View</a:t>
            </a:r>
          </a:p>
        </p:txBody>
      </p:sp>
      <p:pic>
        <p:nvPicPr>
          <p:cNvPr id="15" name="Picture Placeholder 1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1F1F8A1-2CF5-CB8C-F068-4B27AAB82B8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7" r="180"/>
          <a:stretch>
            <a:fillRect/>
          </a:stretch>
        </p:blipFill>
        <p:spPr>
          <a:xfrm>
            <a:off x="2046514" y="1098000"/>
            <a:ext cx="8098971" cy="5760000"/>
          </a:xfrm>
        </p:spPr>
      </p:pic>
    </p:spTree>
    <p:extLst>
      <p:ext uri="{BB962C8B-B14F-4D97-AF65-F5344CB8AC3E}">
        <p14:creationId xmlns:p14="http://schemas.microsoft.com/office/powerpoint/2010/main" val="326504238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A687D-585A-D598-01E2-2F6EFA9F76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D5A7C6D-E99A-546E-A5A6-394C7A2E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View Entities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D730F6A0-CE23-0619-E321-B7F040286C1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-130"/>
          <a:stretch>
            <a:fillRect/>
          </a:stretch>
        </p:blipFill>
        <p:spPr>
          <a:xfrm>
            <a:off x="431998" y="1098001"/>
            <a:ext cx="11324573" cy="4790704"/>
          </a:xfrm>
        </p:spPr>
      </p:pic>
    </p:spTree>
    <p:extLst>
      <p:ext uri="{BB962C8B-B14F-4D97-AF65-F5344CB8AC3E}">
        <p14:creationId xmlns:p14="http://schemas.microsoft.com/office/powerpoint/2010/main" val="98399821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32E945-4E22-B789-684A-201150198C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AAD71D-C359-19F2-4466-45BA7C207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View Sample Data</a:t>
            </a:r>
          </a:p>
        </p:txBody>
      </p:sp>
      <p:pic>
        <p:nvPicPr>
          <p:cNvPr id="4" name="Picture Placeholder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AD55256-DB90-15B6-29C3-00DA194F69F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17"/>
          <a:stretch>
            <a:fillRect/>
          </a:stretch>
        </p:blipFill>
        <p:spPr>
          <a:xfrm>
            <a:off x="431998" y="1098000"/>
            <a:ext cx="11328003" cy="3524498"/>
          </a:xfrm>
        </p:spPr>
      </p:pic>
    </p:spTree>
    <p:extLst>
      <p:ext uri="{BB962C8B-B14F-4D97-AF65-F5344CB8AC3E}">
        <p14:creationId xmlns:p14="http://schemas.microsoft.com/office/powerpoint/2010/main" val="417785216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574176-F051-EECB-CA50-D6E847FEB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D8F9AC3-DDC2-5E69-44D4-2103D2376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Manage Access</a:t>
            </a:r>
          </a:p>
        </p:txBody>
      </p:sp>
      <p:pic>
        <p:nvPicPr>
          <p:cNvPr id="4" name="Picture Placeholder 3" descr="A screenshot of a chat&#10;&#10;AI-generated content may be incorrect.">
            <a:extLst>
              <a:ext uri="{FF2B5EF4-FFF2-40B4-BE49-F238E27FC236}">
                <a16:creationId xmlns:a16="http://schemas.microsoft.com/office/drawing/2014/main" id="{A2D34B8B-3887-EBFA-4D46-8D706754969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9869889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1D3D6D-3269-CDC4-C6FE-1DF37517E2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BD31A76-AF79-E867-F1D8-269AF3EBA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Manage Access</a:t>
            </a:r>
          </a:p>
        </p:txBody>
      </p:sp>
      <p:pic>
        <p:nvPicPr>
          <p:cNvPr id="6" name="Picture Placeholder 5" descr="A screenshot of a chat&#10;&#10;AI-generated content may be incorrect.">
            <a:extLst>
              <a:ext uri="{FF2B5EF4-FFF2-40B4-BE49-F238E27FC236}">
                <a16:creationId xmlns:a16="http://schemas.microsoft.com/office/drawing/2014/main" id="{A6299011-E8CA-ECA8-EC51-11439714D8B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791860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What is MS Lists?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846274-33D8-1813-1409-C7BB76175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F0FAEAA-EE44-CEEB-4EF5-CF4A3D024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Manage Access Entities</a:t>
            </a:r>
          </a:p>
        </p:txBody>
      </p:sp>
      <p:pic>
        <p:nvPicPr>
          <p:cNvPr id="5" name="Picture Placeholder 4" descr="A diagram of a data flow&#10;&#10;AI-generated content may be incorrect.">
            <a:extLst>
              <a:ext uri="{FF2B5EF4-FFF2-40B4-BE49-F238E27FC236}">
                <a16:creationId xmlns:a16="http://schemas.microsoft.com/office/drawing/2014/main" id="{18C207E9-9D6E-DD67-DB19-1515B410C52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8" r="205"/>
          <a:stretch>
            <a:fillRect/>
          </a:stretch>
        </p:blipFill>
        <p:spPr>
          <a:xfrm>
            <a:off x="1873349" y="1098000"/>
            <a:ext cx="8445301" cy="5243408"/>
          </a:xfrm>
        </p:spPr>
      </p:pic>
    </p:spTree>
    <p:extLst>
      <p:ext uri="{BB962C8B-B14F-4D97-AF65-F5344CB8AC3E}">
        <p14:creationId xmlns:p14="http://schemas.microsoft.com/office/powerpoint/2010/main" val="411910468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CFD0C0-BBE2-736B-6DB9-EEBA4825C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661A88-CE61-8704-DE90-3646700B9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Manage Access Sample Data</a:t>
            </a:r>
          </a:p>
        </p:txBody>
      </p:sp>
      <p:pic>
        <p:nvPicPr>
          <p:cNvPr id="4" name="Picture Placeholder 3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494C8C31-6CE5-9517-A2A5-6AE0FA29DC6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16"/>
          <a:stretch>
            <a:fillRect/>
          </a:stretch>
        </p:blipFill>
        <p:spPr>
          <a:xfrm>
            <a:off x="431999" y="1098001"/>
            <a:ext cx="11353602" cy="3478398"/>
          </a:xfrm>
        </p:spPr>
      </p:pic>
    </p:spTree>
    <p:extLst>
      <p:ext uri="{BB962C8B-B14F-4D97-AF65-F5344CB8AC3E}">
        <p14:creationId xmlns:p14="http://schemas.microsoft.com/office/powerpoint/2010/main" val="302408381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08F2D4-EE8F-6712-04E7-235CC71B0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63DFA8A-0AB8-71E6-C1B2-00CA5215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Trash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231B2A2-9EEE-B83A-77AB-6E4855A2F87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09" b="9"/>
          <a:stretch>
            <a:fillRect/>
          </a:stretch>
        </p:blipFill>
        <p:spPr>
          <a:xfrm>
            <a:off x="431998" y="1098000"/>
            <a:ext cx="11328003" cy="5351812"/>
          </a:xfrm>
        </p:spPr>
      </p:pic>
    </p:spTree>
    <p:extLst>
      <p:ext uri="{BB962C8B-B14F-4D97-AF65-F5344CB8AC3E}">
        <p14:creationId xmlns:p14="http://schemas.microsoft.com/office/powerpoint/2010/main" val="33464051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03306-D96C-F23E-D98C-D03D105358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EF90ED-AEED-A160-1BCE-A3CD84AD9E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35B0710-24D8-DC02-9718-E3525B6238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9AC88A2-8CBC-9629-9F61-1ECA954DFD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28F7F58-5182-D291-B326-EF091C452E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0132493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7E9F1D8E-5CD6-669B-488D-B0394463E63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4559" t="-5617" r="31079" b="-2491"/>
          <a:stretch>
            <a:fillRect/>
          </a:stretch>
        </p:blipFill>
        <p:spPr>
          <a:xfrm>
            <a:off x="6096000" y="1098000"/>
            <a:ext cx="6096000" cy="5760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MS List is a tool for managing structured lists of data</a:t>
            </a:r>
          </a:p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Works like a simple table or database</a:t>
            </a:r>
          </a:p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Create lists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View data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Manage info clearly and easil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hat is Microsoft Lis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297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Key </a:t>
            </a:r>
            <a:r>
              <a:rPr lang="en-US" err="1"/>
              <a:t>Functionaliti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3A8424D-E30A-CC8F-7CCA-CAC552D85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72572" y="1109759"/>
            <a:ext cx="7219428" cy="463848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826883"/>
            <a:ext cx="4877419" cy="3204232"/>
          </a:xfrm>
        </p:spPr>
        <p:txBody>
          <a:bodyPr wrap="square" anchor="t"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/>
              <a:t>Create and Manage Lis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Colum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Manage List Ite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View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onditional Formatt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Permissions and Shar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Built-in Templat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Key Functionalities of MS List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9ECD-E04B-9B6C-75C2-0FA45FCB0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shboard Scree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E593C1-5DCE-59D6-6031-80E14E6E3AA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51978"/>
            <a:ext cx="12192000" cy="5952995"/>
          </a:xfrm>
          <a:prstGeom prst="rect">
            <a:avLst/>
          </a:prstGeom>
        </p:spPr>
      </p:pic>
      <p:sp>
        <p:nvSpPr>
          <p:cNvPr id="11" name="Callout: Line 10">
            <a:extLst>
              <a:ext uri="{FF2B5EF4-FFF2-40B4-BE49-F238E27FC236}">
                <a16:creationId xmlns:a16="http://schemas.microsoft.com/office/drawing/2014/main" id="{059E674D-0B7B-3B3A-835A-5669185DCB6C}"/>
              </a:ext>
            </a:extLst>
          </p:cNvPr>
          <p:cNvSpPr/>
          <p:nvPr/>
        </p:nvSpPr>
        <p:spPr>
          <a:xfrm>
            <a:off x="1365337" y="2029216"/>
            <a:ext cx="1828800" cy="1929009"/>
          </a:xfrm>
          <a:prstGeom prst="borderCallout1">
            <a:avLst>
              <a:gd name="adj1" fmla="val 51218"/>
              <a:gd name="adj2" fmla="val 100571"/>
              <a:gd name="adj3" fmla="val 23539"/>
              <a:gd name="adj4" fmla="val 127420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76ACE609-ADE7-8FA6-D67F-709DEC7FC4B1}"/>
              </a:ext>
            </a:extLst>
          </p:cNvPr>
          <p:cNvSpPr/>
          <p:nvPr/>
        </p:nvSpPr>
        <p:spPr>
          <a:xfrm>
            <a:off x="9419572" y="4770153"/>
            <a:ext cx="951978" cy="1390389"/>
          </a:xfrm>
          <a:prstGeom prst="borderCallout1">
            <a:avLst>
              <a:gd name="adj1" fmla="val 1172"/>
              <a:gd name="adj2" fmla="val 47615"/>
              <a:gd name="adj3" fmla="val -94131"/>
              <a:gd name="adj4" fmla="val 48217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D0B8A47D-3547-807B-99FF-900921EB91D1}"/>
              </a:ext>
            </a:extLst>
          </p:cNvPr>
          <p:cNvSpPr/>
          <p:nvPr/>
        </p:nvSpPr>
        <p:spPr>
          <a:xfrm>
            <a:off x="1365337" y="4108538"/>
            <a:ext cx="9356942" cy="2749462"/>
          </a:xfrm>
          <a:prstGeom prst="borderCallout1">
            <a:avLst>
              <a:gd name="adj1" fmla="val 802"/>
              <a:gd name="adj2" fmla="val 48931"/>
              <a:gd name="adj3" fmla="val -41111"/>
              <a:gd name="adj4" fmla="val 55171"/>
            </a:avLst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0B66730-7CB9-D045-8F1A-ADCA620E6E40}"/>
              </a:ext>
            </a:extLst>
          </p:cNvPr>
          <p:cNvSpPr txBox="1"/>
          <p:nvPr/>
        </p:nvSpPr>
        <p:spPr>
          <a:xfrm>
            <a:off x="3733800" y="22606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8A032CC-2F2D-C91F-8C7E-7EB8145AF3DC}"/>
              </a:ext>
            </a:extLst>
          </p:cNvPr>
          <p:cNvSpPr/>
          <p:nvPr/>
        </p:nvSpPr>
        <p:spPr>
          <a:xfrm>
            <a:off x="3733800" y="2200927"/>
            <a:ext cx="1384300" cy="4888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err="1">
                <a:solidFill>
                  <a:sysClr val="windowText" lastClr="000000"/>
                </a:solidFill>
              </a:rPr>
              <a:t>FavoriteList</a:t>
            </a:r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7828614-AFEE-30E7-52A2-118851A77558}"/>
              </a:ext>
            </a:extLst>
          </p:cNvPr>
          <p:cNvSpPr/>
          <p:nvPr/>
        </p:nvSpPr>
        <p:spPr>
          <a:xfrm>
            <a:off x="6477000" y="2516749"/>
            <a:ext cx="1384300" cy="488862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RecentLis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415F6E1-D83C-0FF5-7365-BA4744546963}"/>
              </a:ext>
            </a:extLst>
          </p:cNvPr>
          <p:cNvSpPr/>
          <p:nvPr/>
        </p:nvSpPr>
        <p:spPr>
          <a:xfrm>
            <a:off x="9542399" y="2984195"/>
            <a:ext cx="609600" cy="4888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</a:t>
            </a: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C7865340-B5F9-52C2-EF0E-FCB1D09C179D}"/>
              </a:ext>
            </a:extLst>
          </p:cNvPr>
          <p:cNvSpPr/>
          <p:nvPr/>
        </p:nvSpPr>
        <p:spPr>
          <a:xfrm>
            <a:off x="4714875" y="4772416"/>
            <a:ext cx="1057276" cy="1390389"/>
          </a:xfrm>
          <a:prstGeom prst="borderCallout1">
            <a:avLst>
              <a:gd name="adj1" fmla="val 1208"/>
              <a:gd name="adj2" fmla="val 60931"/>
              <a:gd name="adj3" fmla="val -149781"/>
              <a:gd name="adj4" fmla="val 15708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" name="Callout: Line 2">
            <a:extLst>
              <a:ext uri="{FF2B5EF4-FFF2-40B4-BE49-F238E27FC236}">
                <a16:creationId xmlns:a16="http://schemas.microsoft.com/office/drawing/2014/main" id="{DC9D17DB-C1A2-E9D3-E7F1-6B5BE0DD6551}"/>
              </a:ext>
            </a:extLst>
          </p:cNvPr>
          <p:cNvSpPr/>
          <p:nvPr/>
        </p:nvSpPr>
        <p:spPr>
          <a:xfrm>
            <a:off x="9477048" y="5965390"/>
            <a:ext cx="837025" cy="129957"/>
          </a:xfrm>
          <a:prstGeom prst="borderCallout1">
            <a:avLst>
              <a:gd name="adj1" fmla="val 44778"/>
              <a:gd name="adj2" fmla="val 99001"/>
              <a:gd name="adj3" fmla="val 32181"/>
              <a:gd name="adj4" fmla="val 155311"/>
            </a:avLst>
          </a:prstGeom>
          <a:noFill/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29F291-5C39-530A-C38C-6420E5E06A15}"/>
              </a:ext>
            </a:extLst>
          </p:cNvPr>
          <p:cNvSpPr txBox="1"/>
          <p:nvPr/>
        </p:nvSpPr>
        <p:spPr>
          <a:xfrm>
            <a:off x="10826663" y="5841041"/>
            <a:ext cx="914400" cy="33233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00B050"/>
                </a:solidFill>
              </a:rPr>
              <a:t>LastAccessedAt</a:t>
            </a:r>
            <a:endParaRPr lang="en-US" sz="1400" dirty="0" err="1">
              <a:solidFill>
                <a:srgbClr val="00B05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88B117-B697-B790-8A15-90AF1891374A}"/>
              </a:ext>
            </a:extLst>
          </p:cNvPr>
          <p:cNvSpPr txBox="1"/>
          <p:nvPr/>
        </p:nvSpPr>
        <p:spPr>
          <a:xfrm>
            <a:off x="10826663" y="4495906"/>
            <a:ext cx="914400" cy="118099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ListName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WorkspaceId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Icon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Color</a:t>
            </a:r>
            <a:endParaRPr lang="en-US" sz="1400" dirty="0" err="1">
              <a:solidFill>
                <a:schemeClr val="tx2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64F37AC-C7F9-F93B-3D33-00C03AAF6453}"/>
              </a:ext>
            </a:extLst>
          </p:cNvPr>
          <p:cNvCxnSpPr>
            <a:cxnSpLocks/>
          </p:cNvCxnSpPr>
          <p:nvPr/>
        </p:nvCxnSpPr>
        <p:spPr>
          <a:xfrm flipV="1">
            <a:off x="10371550" y="4662073"/>
            <a:ext cx="455113" cy="113199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52355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1860</TotalTime>
  <Words>1527</Words>
  <Application>Microsoft Office PowerPoint</Application>
  <PresentationFormat>Widescreen</PresentationFormat>
  <Paragraphs>395</Paragraphs>
  <Slides>53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57" baseType="lpstr">
      <vt:lpstr>Arial</vt:lpstr>
      <vt:lpstr>Calibri</vt:lpstr>
      <vt:lpstr>bbv template EN</vt:lpstr>
      <vt:lpstr>think-cell Slide</vt:lpstr>
      <vt:lpstr>PowerPoint Presentation</vt:lpstr>
      <vt:lpstr>Ypp 4</vt:lpstr>
      <vt:lpstr>Presentation on MS Lists Functionalities</vt:lpstr>
      <vt:lpstr>Agenda</vt:lpstr>
      <vt:lpstr>Introduction</vt:lpstr>
      <vt:lpstr>Introduction</vt:lpstr>
      <vt:lpstr>Key Functionalitie</vt:lpstr>
      <vt:lpstr>Key Functionalities of MS Lists</vt:lpstr>
      <vt:lpstr>Dashboard Screen</vt:lpstr>
      <vt:lpstr>Dashboard Screen</vt:lpstr>
      <vt:lpstr>Dashboard Screen</vt:lpstr>
      <vt:lpstr>Entity Relationship</vt:lpstr>
      <vt:lpstr>Dashboard Sample Data</vt:lpstr>
      <vt:lpstr>Create List Screen</vt:lpstr>
      <vt:lpstr>Create List From List Type</vt:lpstr>
      <vt:lpstr>Entity Relationship</vt:lpstr>
      <vt:lpstr>Create List Screen</vt:lpstr>
      <vt:lpstr>List Template</vt:lpstr>
      <vt:lpstr>List Template</vt:lpstr>
      <vt:lpstr>Create List from Template</vt:lpstr>
      <vt:lpstr>Entity Relationship</vt:lpstr>
      <vt:lpstr>Create List Sample Data</vt:lpstr>
      <vt:lpstr>List</vt:lpstr>
      <vt:lpstr>List</vt:lpstr>
      <vt:lpstr>Dynamic Column</vt:lpstr>
      <vt:lpstr>Create Dynamic Column</vt:lpstr>
      <vt:lpstr>Create Dynamic Column</vt:lpstr>
      <vt:lpstr>DataTypeSettingKey</vt:lpstr>
      <vt:lpstr>PowerPoint Presentation</vt:lpstr>
      <vt:lpstr>SystemColumn</vt:lpstr>
      <vt:lpstr>Template View &amp; Template Column</vt:lpstr>
      <vt:lpstr>Template Entities</vt:lpstr>
      <vt:lpstr>List Management</vt:lpstr>
      <vt:lpstr>List Row Detail</vt:lpstr>
      <vt:lpstr>List Column</vt:lpstr>
      <vt:lpstr>List Entities</vt:lpstr>
      <vt:lpstr>List Column Setting</vt:lpstr>
      <vt:lpstr>List Column Setting Entities</vt:lpstr>
      <vt:lpstr>System column</vt:lpstr>
      <vt:lpstr>System Column example data</vt:lpstr>
      <vt:lpstr>Dynamic Column example data</vt:lpstr>
      <vt:lpstr>Format View</vt:lpstr>
      <vt:lpstr>Format View</vt:lpstr>
      <vt:lpstr>Format Column</vt:lpstr>
      <vt:lpstr>List View</vt:lpstr>
      <vt:lpstr>List View Entities</vt:lpstr>
      <vt:lpstr>List View Sample Data</vt:lpstr>
      <vt:lpstr>Manage Access</vt:lpstr>
      <vt:lpstr>Manage Access</vt:lpstr>
      <vt:lpstr>Manage Access Entities</vt:lpstr>
      <vt:lpstr>Manage Access Sample Data</vt:lpstr>
      <vt:lpstr>Trash</vt:lpstr>
      <vt:lpstr>Q&amp;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Tuyết Mi</cp:lastModifiedBy>
  <cp:revision>31</cp:revision>
  <dcterms:created xsi:type="dcterms:W3CDTF">2025-07-10T03:51:23Z</dcterms:created>
  <dcterms:modified xsi:type="dcterms:W3CDTF">2025-08-08T10:23:37Z</dcterms:modified>
</cp:coreProperties>
</file>